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81" autoAdjust="0"/>
    <p:restoredTop sz="92808" autoAdjust="0"/>
  </p:normalViewPr>
  <p:slideViewPr>
    <p:cSldViewPr snapToGrid="0">
      <p:cViewPr>
        <p:scale>
          <a:sx n="107" d="100"/>
          <a:sy n="107" d="100"/>
        </p:scale>
        <p:origin x="532" y="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18453\Downloads\1618836907_Statistics_Case_Study_Student_Reference_27062020v2%20-%20Pavlu.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18453\AppData\Roaming\Microsoft\Excel\1618836907_Statistics_Case_Study_Student_Reference_27062020v2%20-%20Pavlu%20(version%201).xlsb"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18453\Downloads\1618836907_Statistics_Case_Study_Student_Reference_27062020v2%20-%20Pavlu.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18453\Downloads\1618836907_Statistics_Case_Study_Student_Reference_27062020v2%20-%20Pavlu.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18453\AppData\Roaming\Microsoft\Excel\1618836907_Statistics_Case_Study_Student_Reference_27062020v2%20-%20Pavlu%20(version%201).xlsb"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18453\AppData\Roaming\Microsoft\Excel\1618836907_Statistics_Case_Study_Student_Reference_27062020v2%20-%20Pavlu%20(version%201).xlsb"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18453\AppData\Roaming\Microsoft\Excel\1618836907_Statistics_Case_Study_Student_Reference_27062020v2%20-%20Pavlu%20(version%201).xlsb"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18453\AppData\Roaming\Microsoft\Excel\1618836907_Statistics_Case_Study_Student_Reference_27062020v2%20-%20Pavlu%20(version%201).xlsb"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tistical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AE0D-4B0D-9F2C-AA99D86A6132}"/>
            </c:ext>
          </c:extLst>
        </c:ser>
        <c:dLbls>
          <c:showLegendKey val="0"/>
          <c:showVal val="0"/>
          <c:showCatName val="0"/>
          <c:showSerName val="0"/>
          <c:showPercent val="0"/>
          <c:showBubbleSize val="0"/>
        </c:dLbls>
        <c:marker val="1"/>
        <c:smooth val="0"/>
        <c:axId val="1752123280"/>
        <c:axId val="1752125360"/>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cat>
            <c:numRef>
              <c:f>'Data Preparation'!$B$2:$B$8</c:f>
              <c:numCache>
                <c:formatCode>m/d/yyyy\ h:mm</c:formatCode>
                <c:ptCount val="7"/>
                <c:pt idx="0">
                  <c:v>41982</c:v>
                </c:pt>
                <c:pt idx="1">
                  <c:v>41982.000694444447</c:v>
                </c:pt>
                <c:pt idx="2">
                  <c:v>41982.001388888886</c:v>
                </c:pt>
                <c:pt idx="3">
                  <c:v>41982.002083333333</c:v>
                </c:pt>
                <c:pt idx="4">
                  <c:v>41982.00277777778</c:v>
                </c:pt>
                <c:pt idx="5">
                  <c:v>41982.003472222219</c:v>
                </c:pt>
                <c:pt idx="6">
                  <c:v>41982.004166666666</c:v>
                </c:pt>
              </c:numCache>
            </c:numRef>
          </c:cat>
          <c:val>
            <c:numRef>
              <c:f>'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AE0D-4B0D-9F2C-AA99D86A6132}"/>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cat>
            <c:numRef>
              <c:f>'Data Preparation'!$B$2:$B$8</c:f>
              <c:numCache>
                <c:formatCode>m/d/yyyy\ h:mm</c:formatCode>
                <c:ptCount val="7"/>
                <c:pt idx="0">
                  <c:v>41982</c:v>
                </c:pt>
                <c:pt idx="1">
                  <c:v>41982.000694444447</c:v>
                </c:pt>
                <c:pt idx="2">
                  <c:v>41982.001388888886</c:v>
                </c:pt>
                <c:pt idx="3">
                  <c:v>41982.002083333333</c:v>
                </c:pt>
                <c:pt idx="4">
                  <c:v>41982.00277777778</c:v>
                </c:pt>
                <c:pt idx="5">
                  <c:v>41982.003472222219</c:v>
                </c:pt>
                <c:pt idx="6">
                  <c:v>41982.004166666666</c:v>
                </c:pt>
              </c:numCache>
            </c:numRef>
          </c:cat>
          <c:val>
            <c:numRef>
              <c:f>'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AE0D-4B0D-9F2C-AA99D86A6132}"/>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cat>
            <c:numRef>
              <c:f>'Data Preparation'!$B$2:$B$8</c:f>
              <c:numCache>
                <c:formatCode>m/d/yyyy\ h:mm</c:formatCode>
                <c:ptCount val="7"/>
                <c:pt idx="0">
                  <c:v>41982</c:v>
                </c:pt>
                <c:pt idx="1">
                  <c:v>41982.000694444447</c:v>
                </c:pt>
                <c:pt idx="2">
                  <c:v>41982.001388888886</c:v>
                </c:pt>
                <c:pt idx="3">
                  <c:v>41982.002083333333</c:v>
                </c:pt>
                <c:pt idx="4">
                  <c:v>41982.00277777778</c:v>
                </c:pt>
                <c:pt idx="5">
                  <c:v>41982.003472222219</c:v>
                </c:pt>
                <c:pt idx="6">
                  <c:v>41982.004166666666</c:v>
                </c:pt>
              </c:numCache>
            </c:numRef>
          </c:cat>
          <c:val>
            <c:numRef>
              <c:f>'Data Preparation'!$K$2:$K$2453</c:f>
              <c:numCache>
                <c:formatCode>0.00</c:formatCode>
                <c:ptCount val="2452"/>
                <c:pt idx="0">
                  <c:v>1.4820216874814496E-2</c:v>
                </c:pt>
                <c:pt idx="1">
                  <c:v>1.0539901646947736E-2</c:v>
                </c:pt>
                <c:pt idx="2">
                  <c:v>1.1902612010965541E-3</c:v>
                </c:pt>
                <c:pt idx="3">
                  <c:v>-5.5078807348812875E-3</c:v>
                </c:pt>
                <c:pt idx="4">
                  <c:v>-1.5527159200491081E-2</c:v>
                </c:pt>
                <c:pt idx="5">
                  <c:v>-1.1199683774914981E-2</c:v>
                </c:pt>
                <c:pt idx="6">
                  <c:v>-9.8067507166222923E-3</c:v>
                </c:pt>
                <c:pt idx="7">
                  <c:v>-1.0273858228656896E-2</c:v>
                </c:pt>
                <c:pt idx="8">
                  <c:v>-7.7170096166793156E-3</c:v>
                </c:pt>
                <c:pt idx="9">
                  <c:v>-1.4248804028990092E-3</c:v>
                </c:pt>
                <c:pt idx="10">
                  <c:v>-2.9652706959545361E-3</c:v>
                </c:pt>
                <c:pt idx="11">
                  <c:v>-7.3473923078148928E-3</c:v>
                </c:pt>
                <c:pt idx="12">
                  <c:v>-2.6094747465023049E-3</c:v>
                </c:pt>
                <c:pt idx="13">
                  <c:v>6.0357700305866402E-3</c:v>
                </c:pt>
                <c:pt idx="14">
                  <c:v>8.1097739682044478E-3</c:v>
                </c:pt>
                <c:pt idx="15">
                  <c:v>6.7168637459258385E-3</c:v>
                </c:pt>
                <c:pt idx="16">
                  <c:v>8.6893594318802059E-3</c:v>
                </c:pt>
                <c:pt idx="17">
                  <c:v>3.5278458158498616E-3</c:v>
                </c:pt>
                <c:pt idx="18">
                  <c:v>3.19866211579245E-3</c:v>
                </c:pt>
                <c:pt idx="19">
                  <c:v>6.2870543887546537E-3</c:v>
                </c:pt>
                <c:pt idx="20">
                  <c:v>9.1470946029322819E-3</c:v>
                </c:pt>
                <c:pt idx="21">
                  <c:v>1.6056680778931853E-2</c:v>
                </c:pt>
                <c:pt idx="22">
                  <c:v>1.76087415579671E-2</c:v>
                </c:pt>
                <c:pt idx="23">
                  <c:v>2.2132624633144138E-2</c:v>
                </c:pt>
                <c:pt idx="24">
                  <c:v>1.7483297127867781E-2</c:v>
                </c:pt>
                <c:pt idx="25">
                  <c:v>1.6107753751711029E-2</c:v>
                </c:pt>
                <c:pt idx="26">
                  <c:v>1.4344137402384716E-2</c:v>
                </c:pt>
                <c:pt idx="27">
                  <c:v>-3.6496476814362744E-3</c:v>
                </c:pt>
                <c:pt idx="28">
                  <c:v>5.0349573318161367E-3</c:v>
                </c:pt>
                <c:pt idx="29">
                  <c:v>-2.0183414133707611E-3</c:v>
                </c:pt>
                <c:pt idx="30">
                  <c:v>-8.3806655454199408E-3</c:v>
                </c:pt>
                <c:pt idx="31">
                  <c:v>-7.8110934301406365E-3</c:v>
                </c:pt>
                <c:pt idx="32">
                  <c:v>8.7497715167424994E-3</c:v>
                </c:pt>
                <c:pt idx="33">
                  <c:v>1.1939036717652285E-2</c:v>
                </c:pt>
                <c:pt idx="34">
                  <c:v>1.6739710520639717E-2</c:v>
                </c:pt>
                <c:pt idx="35">
                  <c:v>2.5367507414281176E-3</c:v>
                </c:pt>
                <c:pt idx="36">
                  <c:v>-6.2785752443775822E-3</c:v>
                </c:pt>
                <c:pt idx="37">
                  <c:v>-5.7169935377273662E-3</c:v>
                </c:pt>
                <c:pt idx="38">
                  <c:v>-5.2288932567619018E-3</c:v>
                </c:pt>
                <c:pt idx="39">
                  <c:v>-1.3100763943868832E-2</c:v>
                </c:pt>
                <c:pt idx="40">
                  <c:v>-1.5174010151446704E-2</c:v>
                </c:pt>
                <c:pt idx="41">
                  <c:v>-1.6831252213021175E-2</c:v>
                </c:pt>
                <c:pt idx="42">
                  <c:v>-2.1752636611468312E-2</c:v>
                </c:pt>
                <c:pt idx="43">
                  <c:v>-2.3065813197201801E-2</c:v>
                </c:pt>
                <c:pt idx="44">
                  <c:v>-3.6534232984345993E-2</c:v>
                </c:pt>
                <c:pt idx="45">
                  <c:v>-4.4313835677263325E-2</c:v>
                </c:pt>
                <c:pt idx="46">
                  <c:v>-5.2534182616115532E-2</c:v>
                </c:pt>
                <c:pt idx="47">
                  <c:v>-5.1614430331581529E-2</c:v>
                </c:pt>
                <c:pt idx="48">
                  <c:v>-5.8141880726233497E-2</c:v>
                </c:pt>
                <c:pt idx="49">
                  <c:v>-4.6807800474549355E-2</c:v>
                </c:pt>
                <c:pt idx="50">
                  <c:v>-5.5911647493319894E-2</c:v>
                </c:pt>
                <c:pt idx="51">
                  <c:v>-5.6638811854165416E-2</c:v>
                </c:pt>
                <c:pt idx="52">
                  <c:v>-5.5370331706144249E-2</c:v>
                </c:pt>
                <c:pt idx="53">
                  <c:v>-5.256818739688518E-2</c:v>
                </c:pt>
                <c:pt idx="54">
                  <c:v>-4.7765439343805505E-2</c:v>
                </c:pt>
                <c:pt idx="55">
                  <c:v>-3.875023953956569E-2</c:v>
                </c:pt>
                <c:pt idx="56">
                  <c:v>-3.6318493645886019E-2</c:v>
                </c:pt>
                <c:pt idx="57">
                  <c:v>-2.5572461515548039E-2</c:v>
                </c:pt>
                <c:pt idx="58">
                  <c:v>-2.3778135697176794E-2</c:v>
                </c:pt>
                <c:pt idx="59">
                  <c:v>-2.8843360509710814E-2</c:v>
                </c:pt>
                <c:pt idx="60">
                  <c:v>-3.4094877072615382E-2</c:v>
                </c:pt>
                <c:pt idx="61">
                  <c:v>-3.3878562929833045E-2</c:v>
                </c:pt>
                <c:pt idx="62">
                  <c:v>-3.8873033627922382E-2</c:v>
                </c:pt>
                <c:pt idx="63">
                  <c:v>-3.9875363081125492E-2</c:v>
                </c:pt>
                <c:pt idx="64">
                  <c:v>-3.561235815069419E-2</c:v>
                </c:pt>
                <c:pt idx="65">
                  <c:v>-3.0781275649064965E-2</c:v>
                </c:pt>
                <c:pt idx="66">
                  <c:v>-2.3663883915360007E-2</c:v>
                </c:pt>
                <c:pt idx="67">
                  <c:v>-2.0762041414921772E-2</c:v>
                </c:pt>
                <c:pt idx="68">
                  <c:v>-1.9971108604929677E-2</c:v>
                </c:pt>
                <c:pt idx="69">
                  <c:v>-1.3399581756656231E-2</c:v>
                </c:pt>
                <c:pt idx="70">
                  <c:v>-1.2344728589678389E-2</c:v>
                </c:pt>
                <c:pt idx="71">
                  <c:v>-2.3820701870039818E-3</c:v>
                </c:pt>
                <c:pt idx="72">
                  <c:v>-7.022479477291621E-3</c:v>
                </c:pt>
                <c:pt idx="73">
                  <c:v>-1.1420190534137342E-2</c:v>
                </c:pt>
                <c:pt idx="74">
                  <c:v>-2.8872083214579458E-3</c:v>
                </c:pt>
                <c:pt idx="75">
                  <c:v>-3.0934990972319998E-3</c:v>
                </c:pt>
                <c:pt idx="76">
                  <c:v>-9.8029887638351187E-3</c:v>
                </c:pt>
                <c:pt idx="77">
                  <c:v>-1.6430756671747759E-2</c:v>
                </c:pt>
                <c:pt idx="78">
                  <c:v>-2.1531312977496331E-2</c:v>
                </c:pt>
                <c:pt idx="79">
                  <c:v>-2.0689451293430583E-2</c:v>
                </c:pt>
                <c:pt idx="80">
                  <c:v>-1.7297873198174885E-2</c:v>
                </c:pt>
                <c:pt idx="81">
                  <c:v>-8.6309241594458852E-3</c:v>
                </c:pt>
                <c:pt idx="82">
                  <c:v>-1.6886751446287152E-2</c:v>
                </c:pt>
                <c:pt idx="83">
                  <c:v>-2.6619441174895231E-2</c:v>
                </c:pt>
                <c:pt idx="84">
                  <c:v>-2.3929294165326964E-2</c:v>
                </c:pt>
                <c:pt idx="85">
                  <c:v>-3.7529336459797613E-2</c:v>
                </c:pt>
                <c:pt idx="86">
                  <c:v>-4.2593691210013884E-2</c:v>
                </c:pt>
                <c:pt idx="87">
                  <c:v>-5.482846728225732E-2</c:v>
                </c:pt>
                <c:pt idx="88">
                  <c:v>-6.8046780973460508E-2</c:v>
                </c:pt>
                <c:pt idx="89">
                  <c:v>-5.7856604979179216E-2</c:v>
                </c:pt>
                <c:pt idx="90">
                  <c:v>-5.0319112761175511E-2</c:v>
                </c:pt>
                <c:pt idx="91">
                  <c:v>-5.265279870507511E-2</c:v>
                </c:pt>
                <c:pt idx="92">
                  <c:v>-5.5650548010155787E-2</c:v>
                </c:pt>
                <c:pt idx="93">
                  <c:v>-4.6474986853228373E-2</c:v>
                </c:pt>
                <c:pt idx="94">
                  <c:v>-5.8292650340267982E-2</c:v>
                </c:pt>
                <c:pt idx="95">
                  <c:v>-5.2184857957747077E-2</c:v>
                </c:pt>
                <c:pt idx="96">
                  <c:v>-4.7925200502781262E-2</c:v>
                </c:pt>
                <c:pt idx="97">
                  <c:v>-4.8753407798338699E-2</c:v>
                </c:pt>
                <c:pt idx="98">
                  <c:v>-5.2671376557744565E-2</c:v>
                </c:pt>
                <c:pt idx="99">
                  <c:v>-5.4143517563192134E-2</c:v>
                </c:pt>
                <c:pt idx="100">
                  <c:v>-5.2306770617386089E-2</c:v>
                </c:pt>
                <c:pt idx="101">
                  <c:v>-5.7920085868670701E-2</c:v>
                </c:pt>
                <c:pt idx="102">
                  <c:v>-4.9709165477268669E-2</c:v>
                </c:pt>
                <c:pt idx="103">
                  <c:v>-4.3493883754809337E-2</c:v>
                </c:pt>
                <c:pt idx="104">
                  <c:v>-3.8767052701076388E-2</c:v>
                </c:pt>
                <c:pt idx="105">
                  <c:v>-4.1444826267301171E-2</c:v>
                </c:pt>
                <c:pt idx="106">
                  <c:v>-3.4377362921945043E-2</c:v>
                </c:pt>
                <c:pt idx="107">
                  <c:v>-2.4962881838480722E-2</c:v>
                </c:pt>
                <c:pt idx="108">
                  <c:v>-3.4331049305676209E-2</c:v>
                </c:pt>
                <c:pt idx="109">
                  <c:v>-3.495881977187465E-2</c:v>
                </c:pt>
                <c:pt idx="110">
                  <c:v>-3.4418647178871997E-2</c:v>
                </c:pt>
                <c:pt idx="111">
                  <c:v>-4.0914308887402995E-2</c:v>
                </c:pt>
                <c:pt idx="112">
                  <c:v>-4.6559979016119413E-2</c:v>
                </c:pt>
                <c:pt idx="113">
                  <c:v>-4.9545957380360828E-2</c:v>
                </c:pt>
                <c:pt idx="114">
                  <c:v>-5.5893197071055445E-2</c:v>
                </c:pt>
                <c:pt idx="115">
                  <c:v>-5.1986412685693928E-2</c:v>
                </c:pt>
                <c:pt idx="116">
                  <c:v>-5.5117014374811424E-2</c:v>
                </c:pt>
                <c:pt idx="117">
                  <c:v>-3.9430280656051364E-2</c:v>
                </c:pt>
                <c:pt idx="118">
                  <c:v>-3.0360604557742255E-2</c:v>
                </c:pt>
                <c:pt idx="119">
                  <c:v>-4.3770408532531779E-2</c:v>
                </c:pt>
                <c:pt idx="120">
                  <c:v>-5.2764674179738291E-2</c:v>
                </c:pt>
                <c:pt idx="121">
                  <c:v>-6.0857205284910565E-2</c:v>
                </c:pt>
                <c:pt idx="122">
                  <c:v>-5.3471525638899675E-2</c:v>
                </c:pt>
                <c:pt idx="123">
                  <c:v>-5.689713000726826E-2</c:v>
                </c:pt>
                <c:pt idx="124">
                  <c:v>-4.1055255518467559E-2</c:v>
                </c:pt>
                <c:pt idx="125">
                  <c:v>-4.2256220388585675E-2</c:v>
                </c:pt>
                <c:pt idx="126">
                  <c:v>-4.5922094821747472E-2</c:v>
                </c:pt>
                <c:pt idx="127">
                  <c:v>-4.7263059028780141E-2</c:v>
                </c:pt>
                <c:pt idx="128">
                  <c:v>-3.4082424207111162E-2</c:v>
                </c:pt>
                <c:pt idx="129">
                  <c:v>-3.2490509438303561E-2</c:v>
                </c:pt>
                <c:pt idx="130">
                  <c:v>-3.8092896314577684E-2</c:v>
                </c:pt>
                <c:pt idx="131">
                  <c:v>-3.0342975101715131E-2</c:v>
                </c:pt>
                <c:pt idx="132">
                  <c:v>-4.8005218585843945E-2</c:v>
                </c:pt>
                <c:pt idx="133">
                  <c:v>-5.4993952089334219E-2</c:v>
                </c:pt>
                <c:pt idx="134">
                  <c:v>-5.9994696364771061E-2</c:v>
                </c:pt>
                <c:pt idx="135">
                  <c:v>-5.0362535214187432E-2</c:v>
                </c:pt>
                <c:pt idx="136">
                  <c:v>-4.7713431582059096E-2</c:v>
                </c:pt>
                <c:pt idx="137">
                  <c:v>-4.8730793924311677E-2</c:v>
                </c:pt>
                <c:pt idx="138">
                  <c:v>-3.2641420958666956E-2</c:v>
                </c:pt>
                <c:pt idx="139">
                  <c:v>-3.1328824336426364E-2</c:v>
                </c:pt>
                <c:pt idx="140">
                  <c:v>-2.7990482276833539E-2</c:v>
                </c:pt>
                <c:pt idx="141">
                  <c:v>-2.8549568907844214E-2</c:v>
                </c:pt>
                <c:pt idx="142">
                  <c:v>-9.5292028901261538E-3</c:v>
                </c:pt>
                <c:pt idx="143">
                  <c:v>1.2308907957588877E-3</c:v>
                </c:pt>
                <c:pt idx="144">
                  <c:v>6.7673842992903577E-3</c:v>
                </c:pt>
                <c:pt idx="145">
                  <c:v>1.8093501499579112E-2</c:v>
                </c:pt>
                <c:pt idx="146">
                  <c:v>2.4782991186318992E-2</c:v>
                </c:pt>
                <c:pt idx="147">
                  <c:v>1.9719122757109186E-2</c:v>
                </c:pt>
                <c:pt idx="148">
                  <c:v>2.6191682319821608E-2</c:v>
                </c:pt>
                <c:pt idx="149">
                  <c:v>3.0102357697673221E-2</c:v>
                </c:pt>
                <c:pt idx="150">
                  <c:v>3.3158655589800357E-2</c:v>
                </c:pt>
                <c:pt idx="151">
                  <c:v>3.4280110642480044E-2</c:v>
                </c:pt>
                <c:pt idx="152">
                  <c:v>3.4120973535796351E-2</c:v>
                </c:pt>
                <c:pt idx="153">
                  <c:v>3.9786652560991231E-2</c:v>
                </c:pt>
                <c:pt idx="154">
                  <c:v>4.0710242852975975E-2</c:v>
                </c:pt>
                <c:pt idx="155">
                  <c:v>3.9485160235833372E-2</c:v>
                </c:pt>
                <c:pt idx="156">
                  <c:v>4.0098309086721851E-2</c:v>
                </c:pt>
                <c:pt idx="157">
                  <c:v>4.002282679777025E-2</c:v>
                </c:pt>
                <c:pt idx="158">
                  <c:v>1.9346743237233843E-2</c:v>
                </c:pt>
                <c:pt idx="159">
                  <c:v>1.5376997651815438E-2</c:v>
                </c:pt>
                <c:pt idx="160">
                  <c:v>1.95244760339226E-2</c:v>
                </c:pt>
                <c:pt idx="161">
                  <c:v>1.618623917447537E-2</c:v>
                </c:pt>
                <c:pt idx="162">
                  <c:v>1.7179690356808774E-2</c:v>
                </c:pt>
                <c:pt idx="163">
                  <c:v>2.4392802315077011E-2</c:v>
                </c:pt>
                <c:pt idx="164">
                  <c:v>2.2795847391472557E-2</c:v>
                </c:pt>
                <c:pt idx="165">
                  <c:v>2.6108628576404169E-2</c:v>
                </c:pt>
                <c:pt idx="166">
                  <c:v>1.1513176827526395E-2</c:v>
                </c:pt>
                <c:pt idx="167">
                  <c:v>8.0199295811522742E-3</c:v>
                </c:pt>
                <c:pt idx="168">
                  <c:v>5.6395286746432349E-3</c:v>
                </c:pt>
                <c:pt idx="169">
                  <c:v>2.1557556048348303E-3</c:v>
                </c:pt>
                <c:pt idx="170">
                  <c:v>-2.6193140248770286E-3</c:v>
                </c:pt>
                <c:pt idx="171">
                  <c:v>-3.3883840285852118E-3</c:v>
                </c:pt>
                <c:pt idx="172">
                  <c:v>-5.2427812549629138E-3</c:v>
                </c:pt>
                <c:pt idx="173">
                  <c:v>-7.2736948751501718E-3</c:v>
                </c:pt>
                <c:pt idx="174">
                  <c:v>-1.5501354612844409E-2</c:v>
                </c:pt>
                <c:pt idx="175">
                  <c:v>-1.6873726162051073E-2</c:v>
                </c:pt>
                <c:pt idx="176">
                  <c:v>-1.8550099709775614E-2</c:v>
                </c:pt>
                <c:pt idx="177">
                  <c:v>-6.505815453553998E-3</c:v>
                </c:pt>
                <c:pt idx="178">
                  <c:v>-1.345650654743713E-2</c:v>
                </c:pt>
                <c:pt idx="179">
                  <c:v>-1.1815891017951663E-2</c:v>
                </c:pt>
                <c:pt idx="180">
                  <c:v>-6.3787006093107834E-3</c:v>
                </c:pt>
                <c:pt idx="181">
                  <c:v>-1.5826813379608118E-2</c:v>
                </c:pt>
                <c:pt idx="182">
                  <c:v>-2.1649103052562735E-2</c:v>
                </c:pt>
                <c:pt idx="183">
                  <c:v>-2.2893906886941928E-2</c:v>
                </c:pt>
                <c:pt idx="184">
                  <c:v>-2.3511144910302262E-2</c:v>
                </c:pt>
                <c:pt idx="185">
                  <c:v>-2.0718513182884979E-2</c:v>
                </c:pt>
                <c:pt idx="186">
                  <c:v>-2.8563841024616732E-2</c:v>
                </c:pt>
                <c:pt idx="187">
                  <c:v>-3.8262994904242897E-2</c:v>
                </c:pt>
                <c:pt idx="188">
                  <c:v>-3.0092066872714707E-2</c:v>
                </c:pt>
                <c:pt idx="189">
                  <c:v>-2.9503496334119084E-2</c:v>
                </c:pt>
                <c:pt idx="190">
                  <c:v>-4.985282123098056E-2</c:v>
                </c:pt>
                <c:pt idx="191">
                  <c:v>-4.8370206149584316E-2</c:v>
                </c:pt>
                <c:pt idx="192">
                  <c:v>-4.6719046010949339E-2</c:v>
                </c:pt>
                <c:pt idx="193">
                  <c:v>-5.3382009034701916E-2</c:v>
                </c:pt>
                <c:pt idx="194">
                  <c:v>-5.1753060958289243E-2</c:v>
                </c:pt>
                <c:pt idx="195">
                  <c:v>-5.0518910728941213E-2</c:v>
                </c:pt>
                <c:pt idx="196">
                  <c:v>-5.0326515952072826E-2</c:v>
                </c:pt>
                <c:pt idx="197">
                  <c:v>-5.2810128979819959E-2</c:v>
                </c:pt>
                <c:pt idx="198">
                  <c:v>-5.363510399337057E-2</c:v>
                </c:pt>
                <c:pt idx="199">
                  <c:v>-4.2260771985742851E-2</c:v>
                </c:pt>
                <c:pt idx="200">
                  <c:v>-3.7048872636082697E-2</c:v>
                </c:pt>
                <c:pt idx="201">
                  <c:v>-3.7171744157832642E-2</c:v>
                </c:pt>
                <c:pt idx="202">
                  <c:v>-3.6681572253467909E-2</c:v>
                </c:pt>
                <c:pt idx="203">
                  <c:v>-3.4605594826748742E-2</c:v>
                </c:pt>
                <c:pt idx="204">
                  <c:v>-3.2569446850362227E-2</c:v>
                </c:pt>
                <c:pt idx="205">
                  <c:v>-4.0561681134063665E-2</c:v>
                </c:pt>
                <c:pt idx="206">
                  <c:v>-4.0504246406352418E-2</c:v>
                </c:pt>
                <c:pt idx="207">
                  <c:v>-4.5015957861453626E-2</c:v>
                </c:pt>
                <c:pt idx="208">
                  <c:v>-4.6505661147079547E-2</c:v>
                </c:pt>
                <c:pt idx="209">
                  <c:v>-5.1395305826916982E-2</c:v>
                </c:pt>
                <c:pt idx="210">
                  <c:v>-5.1133538750764651E-2</c:v>
                </c:pt>
                <c:pt idx="211">
                  <c:v>-4.3428432570914555E-2</c:v>
                </c:pt>
                <c:pt idx="212">
                  <c:v>-3.4806991617007843E-2</c:v>
                </c:pt>
                <c:pt idx="213">
                  <c:v>-3.8102068841608938E-2</c:v>
                </c:pt>
                <c:pt idx="214">
                  <c:v>-8.4340584650287265E-2</c:v>
                </c:pt>
                <c:pt idx="215">
                  <c:v>-0.10696193658784969</c:v>
                </c:pt>
                <c:pt idx="216">
                  <c:v>-0.13600733619270911</c:v>
                </c:pt>
                <c:pt idx="217">
                  <c:v>-0.16391675330934041</c:v>
                </c:pt>
                <c:pt idx="218">
                  <c:v>-0.12704005365484772</c:v>
                </c:pt>
                <c:pt idx="219">
                  <c:v>-5.636377021574146E-2</c:v>
                </c:pt>
                <c:pt idx="220">
                  <c:v>-8.6972087205318016E-2</c:v>
                </c:pt>
                <c:pt idx="221">
                  <c:v>-8.6511342905899791E-2</c:v>
                </c:pt>
                <c:pt idx="222">
                  <c:v>-8.136047579757022E-2</c:v>
                </c:pt>
                <c:pt idx="223">
                  <c:v>-6.8366990705489239E-2</c:v>
                </c:pt>
                <c:pt idx="224">
                  <c:v>-3.5882930865261842E-2</c:v>
                </c:pt>
                <c:pt idx="225">
                  <c:v>-4.5863100889216413E-2</c:v>
                </c:pt>
                <c:pt idx="226">
                  <c:v>-4.0834845985210366E-2</c:v>
                </c:pt>
                <c:pt idx="227">
                  <c:v>-3.974917609773676E-2</c:v>
                </c:pt>
                <c:pt idx="228">
                  <c:v>5.5625284864363467E-3</c:v>
                </c:pt>
                <c:pt idx="229">
                  <c:v>-5.1614088184891438E-3</c:v>
                </c:pt>
                <c:pt idx="230">
                  <c:v>-1.9420424514219659E-2</c:v>
                </c:pt>
                <c:pt idx="231">
                  <c:v>-4.5446970827472954E-3</c:v>
                </c:pt>
                <c:pt idx="232">
                  <c:v>-4.5359261325053413E-2</c:v>
                </c:pt>
                <c:pt idx="233">
                  <c:v>-6.5563506604338628E-2</c:v>
                </c:pt>
                <c:pt idx="234">
                  <c:v>-6.4582615696739398E-2</c:v>
                </c:pt>
                <c:pt idx="235">
                  <c:v>-6.1032484913273288E-2</c:v>
                </c:pt>
                <c:pt idx="236">
                  <c:v>-6.9888141199219822E-2</c:v>
                </c:pt>
                <c:pt idx="237">
                  <c:v>-7.3699763701135956E-2</c:v>
                </c:pt>
                <c:pt idx="238">
                  <c:v>-8.6311559627746504E-2</c:v>
                </c:pt>
                <c:pt idx="239">
                  <c:v>-4.1851778140681528E-2</c:v>
                </c:pt>
                <c:pt idx="240">
                  <c:v>-7.2788933222787677E-2</c:v>
                </c:pt>
                <c:pt idx="241">
                  <c:v>-8.2601928643097788E-2</c:v>
                </c:pt>
                <c:pt idx="242">
                  <c:v>-0.10724332472551412</c:v>
                </c:pt>
                <c:pt idx="243">
                  <c:v>-0.13800133486948984</c:v>
                </c:pt>
                <c:pt idx="244">
                  <c:v>-0.12398081825516405</c:v>
                </c:pt>
                <c:pt idx="245">
                  <c:v>-0.10083991899937284</c:v>
                </c:pt>
                <c:pt idx="246">
                  <c:v>-0.1117598096309711</c:v>
                </c:pt>
                <c:pt idx="247">
                  <c:v>-8.5177641580117314E-2</c:v>
                </c:pt>
                <c:pt idx="248">
                  <c:v>-9.474223676802207E-2</c:v>
                </c:pt>
                <c:pt idx="249">
                  <c:v>-0.10798162111747844</c:v>
                </c:pt>
                <c:pt idx="250">
                  <c:v>-6.4997182710912815E-2</c:v>
                </c:pt>
                <c:pt idx="251">
                  <c:v>-9.6449371810185314E-2</c:v>
                </c:pt>
                <c:pt idx="252">
                  <c:v>-0.11287460758083623</c:v>
                </c:pt>
                <c:pt idx="253">
                  <c:v>-0.1213175081169432</c:v>
                </c:pt>
                <c:pt idx="254">
                  <c:v>-0.14536774349634063</c:v>
                </c:pt>
                <c:pt idx="255">
                  <c:v>-0.12258876649323902</c:v>
                </c:pt>
                <c:pt idx="256">
                  <c:v>-0.13853404124210267</c:v>
                </c:pt>
                <c:pt idx="257">
                  <c:v>-0.17951723028579913</c:v>
                </c:pt>
                <c:pt idx="258">
                  <c:v>-0.15374246229265021</c:v>
                </c:pt>
                <c:pt idx="259">
                  <c:v>-0.14620668417101024</c:v>
                </c:pt>
                <c:pt idx="260">
                  <c:v>-0.11413821670183288</c:v>
                </c:pt>
                <c:pt idx="261">
                  <c:v>-0.10388834191344809</c:v>
                </c:pt>
                <c:pt idx="262">
                  <c:v>-7.5138649503965982E-2</c:v>
                </c:pt>
                <c:pt idx="263">
                  <c:v>-7.0650159606745366E-2</c:v>
                </c:pt>
                <c:pt idx="264">
                  <c:v>-5.6351745723514757E-2</c:v>
                </c:pt>
                <c:pt idx="265">
                  <c:v>-3.2312224095000786E-2</c:v>
                </c:pt>
                <c:pt idx="266">
                  <c:v>-2.3451302285961262E-2</c:v>
                </c:pt>
                <c:pt idx="267">
                  <c:v>-1.3508473179905223E-2</c:v>
                </c:pt>
                <c:pt idx="268">
                  <c:v>2.5058018698559392E-2</c:v>
                </c:pt>
                <c:pt idx="269">
                  <c:v>4.978530243895718E-3</c:v>
                </c:pt>
                <c:pt idx="270">
                  <c:v>5.7791976241434173E-2</c:v>
                </c:pt>
                <c:pt idx="271">
                  <c:v>7.9032757106261564E-2</c:v>
                </c:pt>
                <c:pt idx="272">
                  <c:v>7.8267598122027882E-2</c:v>
                </c:pt>
                <c:pt idx="273">
                  <c:v>6.0211272763159518E-2</c:v>
                </c:pt>
                <c:pt idx="274">
                  <c:v>5.3507961371913382E-2</c:v>
                </c:pt>
                <c:pt idx="275">
                  <c:v>4.5394751551185775E-2</c:v>
                </c:pt>
                <c:pt idx="276">
                  <c:v>1.150125922119638E-2</c:v>
                </c:pt>
                <c:pt idx="277">
                  <c:v>-3.5792529881830348E-2</c:v>
                </c:pt>
                <c:pt idx="278">
                  <c:v>1.1347944671413868E-2</c:v>
                </c:pt>
                <c:pt idx="279">
                  <c:v>-8.2306790248874995E-3</c:v>
                </c:pt>
                <c:pt idx="280">
                  <c:v>-6.8854047830835152E-2</c:v>
                </c:pt>
                <c:pt idx="281">
                  <c:v>-2.6748638038103234E-2</c:v>
                </c:pt>
                <c:pt idx="282">
                  <c:v>-4.547312204797016E-2</c:v>
                </c:pt>
                <c:pt idx="283">
                  <c:v>-2.4962196340299725E-2</c:v>
                </c:pt>
                <c:pt idx="284">
                  <c:v>-3.6186754587530956E-2</c:v>
                </c:pt>
                <c:pt idx="285">
                  <c:v>-2.0098289195262353E-2</c:v>
                </c:pt>
                <c:pt idx="286">
                  <c:v>-4.3033480027332316E-2</c:v>
                </c:pt>
                <c:pt idx="287">
                  <c:v>-4.335659451485141E-2</c:v>
                </c:pt>
                <c:pt idx="288">
                  <c:v>-3.5308420242105454E-2</c:v>
                </c:pt>
                <c:pt idx="289">
                  <c:v>-3.8799754410975607E-2</c:v>
                </c:pt>
                <c:pt idx="290">
                  <c:v>-4.6741096320404352E-2</c:v>
                </c:pt>
                <c:pt idx="291">
                  <c:v>-4.2923538410855167E-2</c:v>
                </c:pt>
                <c:pt idx="292">
                  <c:v>-4.3567431073065488E-2</c:v>
                </c:pt>
                <c:pt idx="293">
                  <c:v>-3.6792194367863407E-2</c:v>
                </c:pt>
                <c:pt idx="294">
                  <c:v>-3.6807634024155433E-2</c:v>
                </c:pt>
                <c:pt idx="295">
                  <c:v>-3.4109900081236932E-2</c:v>
                </c:pt>
                <c:pt idx="296">
                  <c:v>-3.9648494491890451E-2</c:v>
                </c:pt>
                <c:pt idx="297">
                  <c:v>-3.7250582065052495E-2</c:v>
                </c:pt>
                <c:pt idx="298">
                  <c:v>-3.3265414193627274E-2</c:v>
                </c:pt>
                <c:pt idx="299">
                  <c:v>-3.3389333771227214E-2</c:v>
                </c:pt>
                <c:pt idx="300">
                  <c:v>-3.054421084667247E-2</c:v>
                </c:pt>
                <c:pt idx="301">
                  <c:v>-2.8840256664534492E-2</c:v>
                </c:pt>
                <c:pt idx="302">
                  <c:v>-3.1349394866799662E-2</c:v>
                </c:pt>
                <c:pt idx="303">
                  <c:v>-2.4033519265769132E-2</c:v>
                </c:pt>
                <c:pt idx="304">
                  <c:v>-1.3405316464971007E-2</c:v>
                </c:pt>
                <c:pt idx="305">
                  <c:v>-1.5644712131970162E-2</c:v>
                </c:pt>
                <c:pt idx="306">
                  <c:v>-1.6846636397981452E-2</c:v>
                </c:pt>
                <c:pt idx="307">
                  <c:v>-8.619256633217276E-3</c:v>
                </c:pt>
                <c:pt idx="308">
                  <c:v>-6.3294135663530815E-3</c:v>
                </c:pt>
                <c:pt idx="309">
                  <c:v>6.0098824573325826E-3</c:v>
                </c:pt>
                <c:pt idx="310">
                  <c:v>1.6847544434331896E-3</c:v>
                </c:pt>
                <c:pt idx="311">
                  <c:v>1.2381484633985029E-2</c:v>
                </c:pt>
                <c:pt idx="312">
                  <c:v>4.6729936728518995E-3</c:v>
                </c:pt>
                <c:pt idx="313">
                  <c:v>1.2250430847716709E-2</c:v>
                </c:pt>
                <c:pt idx="314">
                  <c:v>2.0738529023779151E-2</c:v>
                </c:pt>
                <c:pt idx="315">
                  <c:v>2.5924963577466653E-2</c:v>
                </c:pt>
                <c:pt idx="316">
                  <c:v>3.1034309756418188E-2</c:v>
                </c:pt>
                <c:pt idx="317">
                  <c:v>2.7769041558770025E-2</c:v>
                </c:pt>
                <c:pt idx="318">
                  <c:v>3.0077347947524591E-2</c:v>
                </c:pt>
                <c:pt idx="319">
                  <c:v>2.6435948295135514E-2</c:v>
                </c:pt>
                <c:pt idx="320">
                  <c:v>2.7970426936810067E-2</c:v>
                </c:pt>
                <c:pt idx="321">
                  <c:v>3.5692927946445852E-2</c:v>
                </c:pt>
                <c:pt idx="322">
                  <c:v>3.8626786539772917E-2</c:v>
                </c:pt>
                <c:pt idx="323">
                  <c:v>2.6525212000259701E-2</c:v>
                </c:pt>
                <c:pt idx="324">
                  <c:v>3.2688027998720504E-2</c:v>
                </c:pt>
                <c:pt idx="325">
                  <c:v>1.7428457363453109E-2</c:v>
                </c:pt>
                <c:pt idx="326">
                  <c:v>1.8962886155849179E-2</c:v>
                </c:pt>
                <c:pt idx="327">
                  <c:v>2.55922720908075E-3</c:v>
                </c:pt>
                <c:pt idx="328">
                  <c:v>-1.5348833173303822E-2</c:v>
                </c:pt>
                <c:pt idx="329">
                  <c:v>-2.6562308655194489E-2</c:v>
                </c:pt>
                <c:pt idx="330">
                  <c:v>-2.5237405843048011E-2</c:v>
                </c:pt>
                <c:pt idx="331">
                  <c:v>-3.2730831341471589E-2</c:v>
                </c:pt>
                <c:pt idx="332">
                  <c:v>-3.4199069669578752E-2</c:v>
                </c:pt>
                <c:pt idx="333">
                  <c:v>-3.8219142741757417E-2</c:v>
                </c:pt>
                <c:pt idx="334">
                  <c:v>-3.4147302169004079E-2</c:v>
                </c:pt>
                <c:pt idx="335">
                  <c:v>-2.8408971612450928E-2</c:v>
                </c:pt>
                <c:pt idx="336">
                  <c:v>-3.4598765993534508E-2</c:v>
                </c:pt>
                <c:pt idx="337">
                  <c:v>-3.2344221498505465E-2</c:v>
                </c:pt>
                <c:pt idx="338">
                  <c:v>-3.1714777414623252E-2</c:v>
                </c:pt>
                <c:pt idx="339">
                  <c:v>-3.7067641130369089E-2</c:v>
                </c:pt>
                <c:pt idx="340">
                  <c:v>-2.3039018831762959E-2</c:v>
                </c:pt>
                <c:pt idx="341">
                  <c:v>-1.9489883612280101E-2</c:v>
                </c:pt>
                <c:pt idx="342">
                  <c:v>-3.1226762520035756E-3</c:v>
                </c:pt>
                <c:pt idx="343">
                  <c:v>-7.4641836140282303E-3</c:v>
                </c:pt>
                <c:pt idx="344">
                  <c:v>-1.4424811233711865E-2</c:v>
                </c:pt>
                <c:pt idx="345">
                  <c:v>-7.1631799826800124E-3</c:v>
                </c:pt>
                <c:pt idx="346">
                  <c:v>-2.1045010304657552E-2</c:v>
                </c:pt>
                <c:pt idx="347">
                  <c:v>-1.8272627931254282E-2</c:v>
                </c:pt>
                <c:pt idx="348">
                  <c:v>-1.3514879019331349E-2</c:v>
                </c:pt>
                <c:pt idx="349">
                  <c:v>-1.1067956167245541E-2</c:v>
                </c:pt>
                <c:pt idx="350">
                  <c:v>-1.7858929671836776E-3</c:v>
                </c:pt>
                <c:pt idx="351">
                  <c:v>6.4460028157440341E-3</c:v>
                </c:pt>
                <c:pt idx="352">
                  <c:v>1.9615817591870366E-3</c:v>
                </c:pt>
                <c:pt idx="353">
                  <c:v>-3.6013330455626491E-3</c:v>
                </c:pt>
                <c:pt idx="354">
                  <c:v>-9.7777174680417911E-3</c:v>
                </c:pt>
                <c:pt idx="355">
                  <c:v>2.0718495851721475E-3</c:v>
                </c:pt>
                <c:pt idx="356">
                  <c:v>-1.1395070131739127E-2</c:v>
                </c:pt>
                <c:pt idx="357">
                  <c:v>-6.1840117064466682E-3</c:v>
                </c:pt>
                <c:pt idx="358">
                  <c:v>1.3195072025407706E-2</c:v>
                </c:pt>
                <c:pt idx="359">
                  <c:v>2.9617161035496498E-2</c:v>
                </c:pt>
                <c:pt idx="360">
                  <c:v>1.7570900956167423E-2</c:v>
                </c:pt>
                <c:pt idx="361">
                  <c:v>1.7894431274498301E-2</c:v>
                </c:pt>
                <c:pt idx="362">
                  <c:v>3.3808943893276489E-3</c:v>
                </c:pt>
                <c:pt idx="363">
                  <c:v>7.8542939899636233E-3</c:v>
                </c:pt>
                <c:pt idx="364">
                  <c:v>6.4739068152648294E-3</c:v>
                </c:pt>
                <c:pt idx="365">
                  <c:v>8.91072380670066E-3</c:v>
                </c:pt>
                <c:pt idx="366">
                  <c:v>1.8888782071352583E-2</c:v>
                </c:pt>
                <c:pt idx="367">
                  <c:v>2.9102108915256553E-3</c:v>
                </c:pt>
                <c:pt idx="368">
                  <c:v>8.459880986559809E-3</c:v>
                </c:pt>
                <c:pt idx="369">
                  <c:v>1.0827752644932742E-2</c:v>
                </c:pt>
                <c:pt idx="370">
                  <c:v>1.1406321177764411E-2</c:v>
                </c:pt>
                <c:pt idx="371">
                  <c:v>8.9738995338679572E-3</c:v>
                </c:pt>
                <c:pt idx="372">
                  <c:v>7.4147743743361305E-3</c:v>
                </c:pt>
                <c:pt idx="373">
                  <c:v>-2.4190019620343728E-3</c:v>
                </c:pt>
                <c:pt idx="374">
                  <c:v>-6.9832302234865695E-3</c:v>
                </c:pt>
                <c:pt idx="375">
                  <c:v>5.0108316163210986E-4</c:v>
                </c:pt>
                <c:pt idx="376">
                  <c:v>-3.4796306105565611E-3</c:v>
                </c:pt>
                <c:pt idx="377">
                  <c:v>-2.633627539094352E-3</c:v>
                </c:pt>
                <c:pt idx="378">
                  <c:v>-1.1248870450188186E-2</c:v>
                </c:pt>
                <c:pt idx="379">
                  <c:v>-4.6209592513889453E-3</c:v>
                </c:pt>
                <c:pt idx="380">
                  <c:v>-5.7096791335853325E-3</c:v>
                </c:pt>
                <c:pt idx="381">
                  <c:v>-1.2104830905976804E-2</c:v>
                </c:pt>
                <c:pt idx="382">
                  <c:v>-8.7115318724294566E-3</c:v>
                </c:pt>
                <c:pt idx="383">
                  <c:v>-7.4958304653589547E-3</c:v>
                </c:pt>
                <c:pt idx="384">
                  <c:v>-4.4214105323825414E-3</c:v>
                </c:pt>
                <c:pt idx="385">
                  <c:v>4.3854788563412184E-3</c:v>
                </c:pt>
                <c:pt idx="386">
                  <c:v>5.1994372209368533E-3</c:v>
                </c:pt>
                <c:pt idx="387">
                  <c:v>2.4015603104919903E-3</c:v>
                </c:pt>
                <c:pt idx="388">
                  <c:v>1.7857421131803886E-3</c:v>
                </c:pt>
                <c:pt idx="389">
                  <c:v>-3.6291831348935766E-3</c:v>
                </c:pt>
                <c:pt idx="390">
                  <c:v>-4.1002281867372758E-3</c:v>
                </c:pt>
                <c:pt idx="391">
                  <c:v>7.8606845956641358E-4</c:v>
                </c:pt>
                <c:pt idx="392">
                  <c:v>-1.7659002629921705E-4</c:v>
                </c:pt>
                <c:pt idx="393">
                  <c:v>-1.7202934872612929E-2</c:v>
                </c:pt>
                <c:pt idx="394">
                  <c:v>-3.289986142107526E-2</c:v>
                </c:pt>
                <c:pt idx="395">
                  <c:v>-3.5043511184701615E-2</c:v>
                </c:pt>
                <c:pt idx="396">
                  <c:v>-3.5746356642225807E-2</c:v>
                </c:pt>
                <c:pt idx="397">
                  <c:v>-1.7452378842638394E-2</c:v>
                </c:pt>
                <c:pt idx="398">
                  <c:v>-2.2642504361229721E-2</c:v>
                </c:pt>
                <c:pt idx="399">
                  <c:v>-2.2695837464961621E-2</c:v>
                </c:pt>
                <c:pt idx="400">
                  <c:v>-2.7130463236399449E-2</c:v>
                </c:pt>
                <c:pt idx="401">
                  <c:v>-2.4918958426658699E-2</c:v>
                </c:pt>
                <c:pt idx="402">
                  <c:v>-2.5567342900170709E-2</c:v>
                </c:pt>
                <c:pt idx="403">
                  <c:v>-1.6937830849023783E-2</c:v>
                </c:pt>
                <c:pt idx="404">
                  <c:v>-1.2052422161396459E-2</c:v>
                </c:pt>
                <c:pt idx="405">
                  <c:v>-2.2985814943959682E-2</c:v>
                </c:pt>
                <c:pt idx="406">
                  <c:v>-2.1931950273360035E-2</c:v>
                </c:pt>
                <c:pt idx="407">
                  <c:v>-1.9881211759950834E-2</c:v>
                </c:pt>
                <c:pt idx="408">
                  <c:v>-1.0787625311060367E-2</c:v>
                </c:pt>
                <c:pt idx="409">
                  <c:v>-1.1113429579956313E-2</c:v>
                </c:pt>
                <c:pt idx="410">
                  <c:v>-4.3073704727620843E-3</c:v>
                </c:pt>
                <c:pt idx="411">
                  <c:v>-6.1630706925936973E-3</c:v>
                </c:pt>
                <c:pt idx="412">
                  <c:v>-7.4291566827591193E-3</c:v>
                </c:pt>
                <c:pt idx="413">
                  <c:v>2.1471331448652542E-3</c:v>
                </c:pt>
                <c:pt idx="414">
                  <c:v>-2.9581865692216436E-3</c:v>
                </c:pt>
                <c:pt idx="415">
                  <c:v>-5.4051386205872243E-3</c:v>
                </c:pt>
                <c:pt idx="416">
                  <c:v>2.8873085282168365E-3</c:v>
                </c:pt>
                <c:pt idx="417">
                  <c:v>8.4571437696981944E-3</c:v>
                </c:pt>
                <c:pt idx="418">
                  <c:v>7.9171513134129734E-3</c:v>
                </c:pt>
                <c:pt idx="419">
                  <c:v>1.2578819164819399E-2</c:v>
                </c:pt>
                <c:pt idx="420">
                  <c:v>7.1249048442105778E-3</c:v>
                </c:pt>
                <c:pt idx="421">
                  <c:v>3.8188832786778537E-3</c:v>
                </c:pt>
                <c:pt idx="422">
                  <c:v>1.611704628816768E-2</c:v>
                </c:pt>
                <c:pt idx="423">
                  <c:v>2.9080192319634102E-2</c:v>
                </c:pt>
                <c:pt idx="424">
                  <c:v>3.9971053022992753E-2</c:v>
                </c:pt>
                <c:pt idx="425">
                  <c:v>4.119089312396107E-2</c:v>
                </c:pt>
                <c:pt idx="426">
                  <c:v>4.368103253738953E-2</c:v>
                </c:pt>
                <c:pt idx="427">
                  <c:v>4.4787088465908287E-2</c:v>
                </c:pt>
                <c:pt idx="428">
                  <c:v>5.3140682956443586E-2</c:v>
                </c:pt>
                <c:pt idx="429">
                  <c:v>5.3863089399724728E-2</c:v>
                </c:pt>
                <c:pt idx="430">
                  <c:v>5.2616381556690239E-2</c:v>
                </c:pt>
                <c:pt idx="431">
                  <c:v>4.109791956267228E-2</c:v>
                </c:pt>
                <c:pt idx="432">
                  <c:v>4.3998764222443754E-2</c:v>
                </c:pt>
                <c:pt idx="433">
                  <c:v>3.2720400374569469E-2</c:v>
                </c:pt>
                <c:pt idx="434">
                  <c:v>4.0011524891382266E-2</c:v>
                </c:pt>
                <c:pt idx="435">
                  <c:v>4.3905813000166383E-2</c:v>
                </c:pt>
                <c:pt idx="436">
                  <c:v>4.6336046516100571E-2</c:v>
                </c:pt>
                <c:pt idx="437">
                  <c:v>3.9525768195718292E-2</c:v>
                </c:pt>
                <c:pt idx="438">
                  <c:v>3.5859756054979375E-2</c:v>
                </c:pt>
                <c:pt idx="439">
                  <c:v>2.2015363267173571E-2</c:v>
                </c:pt>
                <c:pt idx="440">
                  <c:v>1.2638626085100246E-2</c:v>
                </c:pt>
                <c:pt idx="441">
                  <c:v>1.1198788339054078E-2</c:v>
                </c:pt>
                <c:pt idx="442">
                  <c:v>1.1739174787074869E-2</c:v>
                </c:pt>
                <c:pt idx="443">
                  <c:v>1.2290819702132194E-2</c:v>
                </c:pt>
                <c:pt idx="444">
                  <c:v>1.15846132609293E-2</c:v>
                </c:pt>
                <c:pt idx="445">
                  <c:v>9.7796041171062109E-3</c:v>
                </c:pt>
                <c:pt idx="446">
                  <c:v>1.2490975574138474E-2</c:v>
                </c:pt>
                <c:pt idx="447">
                  <c:v>8.5751217463437834E-3</c:v>
                </c:pt>
                <c:pt idx="448">
                  <c:v>4.1237179746083097E-3</c:v>
                </c:pt>
                <c:pt idx="449">
                  <c:v>4.5764335283725588E-3</c:v>
                </c:pt>
                <c:pt idx="450">
                  <c:v>1.1281757446066853E-2</c:v>
                </c:pt>
                <c:pt idx="451">
                  <c:v>1.9741631669799142E-2</c:v>
                </c:pt>
                <c:pt idx="452">
                  <c:v>1.1667973194052994E-2</c:v>
                </c:pt>
                <c:pt idx="453">
                  <c:v>7.9740869096619482E-3</c:v>
                </c:pt>
                <c:pt idx="454">
                  <c:v>1.1515891478788731E-2</c:v>
                </c:pt>
                <c:pt idx="455">
                  <c:v>1.9234428494050104E-2</c:v>
                </c:pt>
                <c:pt idx="456">
                  <c:v>-1.0547254777335535E-3</c:v>
                </c:pt>
                <c:pt idx="457">
                  <c:v>-3.3699312012835936E-4</c:v>
                </c:pt>
                <c:pt idx="458">
                  <c:v>-4.5034632620355453E-4</c:v>
                </c:pt>
                <c:pt idx="459">
                  <c:v>-9.2555880170455129E-3</c:v>
                </c:pt>
                <c:pt idx="460">
                  <c:v>-6.2913886736070124E-3</c:v>
                </c:pt>
                <c:pt idx="461">
                  <c:v>-8.921018488046828E-3</c:v>
                </c:pt>
                <c:pt idx="462">
                  <c:v>-1.175632455441844E-2</c:v>
                </c:pt>
                <c:pt idx="463">
                  <c:v>7.5413725059880754E-4</c:v>
                </c:pt>
                <c:pt idx="464">
                  <c:v>-8.0792438303277647E-3</c:v>
                </c:pt>
                <c:pt idx="465">
                  <c:v>-1.2076841984494879E-2</c:v>
                </c:pt>
                <c:pt idx="466">
                  <c:v>-1.2058289403938716E-2</c:v>
                </c:pt>
                <c:pt idx="467">
                  <c:v>-8.5843802432716831E-3</c:v>
                </c:pt>
                <c:pt idx="468">
                  <c:v>-1.1488530351998372E-2</c:v>
                </c:pt>
                <c:pt idx="469">
                  <c:v>2.8029510196829754E-3</c:v>
                </c:pt>
                <c:pt idx="470">
                  <c:v>6.2661485358042057E-3</c:v>
                </c:pt>
                <c:pt idx="471">
                  <c:v>9.2562727981957416E-3</c:v>
                </c:pt>
                <c:pt idx="472">
                  <c:v>1.3553035832538751E-2</c:v>
                </c:pt>
                <c:pt idx="473">
                  <c:v>1.9097745380742825E-2</c:v>
                </c:pt>
                <c:pt idx="474">
                  <c:v>2.7014730780004825E-2</c:v>
                </c:pt>
                <c:pt idx="475">
                  <c:v>1.8256987446288786E-2</c:v>
                </c:pt>
                <c:pt idx="476">
                  <c:v>1.1987521889069819E-2</c:v>
                </c:pt>
                <c:pt idx="477">
                  <c:v>7.2814438845792973E-3</c:v>
                </c:pt>
                <c:pt idx="478">
                  <c:v>1.0777521144423541E-2</c:v>
                </c:pt>
                <c:pt idx="479">
                  <c:v>9.8584453682041273E-3</c:v>
                </c:pt>
                <c:pt idx="480">
                  <c:v>1.2024522683832362E-2</c:v>
                </c:pt>
                <c:pt idx="481">
                  <c:v>3.5038137737727348E-3</c:v>
                </c:pt>
                <c:pt idx="482">
                  <c:v>1.110510304708423E-2</c:v>
                </c:pt>
                <c:pt idx="483">
                  <c:v>9.3700910581392405E-3</c:v>
                </c:pt>
                <c:pt idx="484">
                  <c:v>2.7181686954096396E-3</c:v>
                </c:pt>
                <c:pt idx="485">
                  <c:v>-1.6420518855171151E-2</c:v>
                </c:pt>
                <c:pt idx="486">
                  <c:v>-2.9466978780194886E-3</c:v>
                </c:pt>
                <c:pt idx="487">
                  <c:v>-3.7187149719553059E-4</c:v>
                </c:pt>
                <c:pt idx="488">
                  <c:v>-9.0518063984017516E-3</c:v>
                </c:pt>
                <c:pt idx="489">
                  <c:v>-1.7676460954607842E-2</c:v>
                </c:pt>
                <c:pt idx="490">
                  <c:v>-1.7196005413321336E-2</c:v>
                </c:pt>
                <c:pt idx="491">
                  <c:v>-4.8147712102253326E-3</c:v>
                </c:pt>
                <c:pt idx="492">
                  <c:v>-5.3822017613669448E-3</c:v>
                </c:pt>
                <c:pt idx="493">
                  <c:v>-2.0114330354007115E-2</c:v>
                </c:pt>
                <c:pt idx="494">
                  <c:v>-1.0228086198336928E-2</c:v>
                </c:pt>
                <c:pt idx="495">
                  <c:v>-1.2469332060956018E-2</c:v>
                </c:pt>
                <c:pt idx="496">
                  <c:v>-7.8769776381157897E-3</c:v>
                </c:pt>
                <c:pt idx="497">
                  <c:v>-1.1108457325349486E-2</c:v>
                </c:pt>
                <c:pt idx="498">
                  <c:v>-9.8877446816576509E-3</c:v>
                </c:pt>
                <c:pt idx="499">
                  <c:v>-1.2038930008817506E-2</c:v>
                </c:pt>
                <c:pt idx="500">
                  <c:v>-9.1709237170267688E-3</c:v>
                </c:pt>
                <c:pt idx="501">
                  <c:v>-6.1564186333464832E-3</c:v>
                </c:pt>
                <c:pt idx="502">
                  <c:v>-9.3734662071444097E-3</c:v>
                </c:pt>
                <c:pt idx="503">
                  <c:v>-1.5780260976189897E-2</c:v>
                </c:pt>
                <c:pt idx="504">
                  <c:v>-2.2994216311430282E-2</c:v>
                </c:pt>
                <c:pt idx="505">
                  <c:v>-1.4024023718412382E-2</c:v>
                </c:pt>
                <c:pt idx="506">
                  <c:v>-1.3348987220526687E-2</c:v>
                </c:pt>
                <c:pt idx="507">
                  <c:v>-9.4796729905696209E-3</c:v>
                </c:pt>
                <c:pt idx="508">
                  <c:v>-8.5607061877339685E-3</c:v>
                </c:pt>
                <c:pt idx="509">
                  <c:v>-1.4965726802037116E-2</c:v>
                </c:pt>
                <c:pt idx="510">
                  <c:v>-1.4199224164055613E-2</c:v>
                </c:pt>
                <c:pt idx="511">
                  <c:v>-1.9910090744243214E-2</c:v>
                </c:pt>
                <c:pt idx="512">
                  <c:v>-2.1863729251743735E-2</c:v>
                </c:pt>
                <c:pt idx="513">
                  <c:v>-1.6030455754031725E-2</c:v>
                </c:pt>
                <c:pt idx="514">
                  <c:v>-1.1136744100688656E-2</c:v>
                </c:pt>
                <c:pt idx="515">
                  <c:v>4.1879409568391646E-3</c:v>
                </c:pt>
                <c:pt idx="516">
                  <c:v>4.4920296854397135E-3</c:v>
                </c:pt>
                <c:pt idx="517">
                  <c:v>-2.3877435680252912E-3</c:v>
                </c:pt>
                <c:pt idx="518">
                  <c:v>7.6590745610431998E-3</c:v>
                </c:pt>
                <c:pt idx="519">
                  <c:v>1.6512595679045616E-2</c:v>
                </c:pt>
                <c:pt idx="520">
                  <c:v>1.3466685554012758E-2</c:v>
                </c:pt>
                <c:pt idx="521">
                  <c:v>1.0228912649998589E-2</c:v>
                </c:pt>
                <c:pt idx="522">
                  <c:v>1.3267239854210633E-2</c:v>
                </c:pt>
                <c:pt idx="523">
                  <c:v>2.2711526918501201E-2</c:v>
                </c:pt>
                <c:pt idx="524">
                  <c:v>2.1454862147806675E-2</c:v>
                </c:pt>
                <c:pt idx="525">
                  <c:v>1.9378322980206253E-2</c:v>
                </c:pt>
                <c:pt idx="526">
                  <c:v>1.6284774393994783E-2</c:v>
                </c:pt>
                <c:pt idx="527">
                  <c:v>1.8353135142818111E-2</c:v>
                </c:pt>
                <c:pt idx="528">
                  <c:v>1.5023535829368106E-2</c:v>
                </c:pt>
                <c:pt idx="529">
                  <c:v>1.2190292340009456E-2</c:v>
                </c:pt>
                <c:pt idx="530">
                  <c:v>1.2298782319488222E-2</c:v>
                </c:pt>
                <c:pt idx="531">
                  <c:v>1.1949172206161207E-2</c:v>
                </c:pt>
                <c:pt idx="532">
                  <c:v>1.8635283563918081E-3</c:v>
                </c:pt>
                <c:pt idx="533">
                  <c:v>3.5419485152700103E-3</c:v>
                </c:pt>
                <c:pt idx="534">
                  <c:v>3.2116121944150144E-3</c:v>
                </c:pt>
                <c:pt idx="535">
                  <c:v>-5.5418067579161567E-3</c:v>
                </c:pt>
                <c:pt idx="536">
                  <c:v>-4.8426851946486993E-3</c:v>
                </c:pt>
                <c:pt idx="537">
                  <c:v>-1.3620546325718852E-3</c:v>
                </c:pt>
                <c:pt idx="538">
                  <c:v>-1.3115429729949613E-3</c:v>
                </c:pt>
                <c:pt idx="539">
                  <c:v>5.7924473241482977E-3</c:v>
                </c:pt>
                <c:pt idx="540">
                  <c:v>1.3061918705776665E-2</c:v>
                </c:pt>
                <c:pt idx="541">
                  <c:v>2.2564751344153144E-2</c:v>
                </c:pt>
                <c:pt idx="542">
                  <c:v>2.76956247230421E-2</c:v>
                </c:pt>
                <c:pt idx="543">
                  <c:v>2.2196443413998512E-2</c:v>
                </c:pt>
                <c:pt idx="544">
                  <c:v>1.9314042213648741E-2</c:v>
                </c:pt>
                <c:pt idx="545">
                  <c:v>4.7543129504827863E-3</c:v>
                </c:pt>
                <c:pt idx="546">
                  <c:v>3.5367194640143484E-3</c:v>
                </c:pt>
                <c:pt idx="547">
                  <c:v>1.1849683384153598E-2</c:v>
                </c:pt>
                <c:pt idx="548">
                  <c:v>1.7633738416952816E-2</c:v>
                </c:pt>
                <c:pt idx="549">
                  <c:v>1.8475542305945614E-2</c:v>
                </c:pt>
                <c:pt idx="550">
                  <c:v>1.6254951551452179E-2</c:v>
                </c:pt>
                <c:pt idx="551">
                  <c:v>2.7683958531634523E-2</c:v>
                </c:pt>
                <c:pt idx="552">
                  <c:v>2.9324202597348026E-2</c:v>
                </c:pt>
                <c:pt idx="553">
                  <c:v>2.4921178276584466E-2</c:v>
                </c:pt>
                <c:pt idx="554">
                  <c:v>2.7154416059510078E-2</c:v>
                </c:pt>
                <c:pt idx="555">
                  <c:v>2.9091760092024299E-2</c:v>
                </c:pt>
                <c:pt idx="556">
                  <c:v>3.0761152579186435E-2</c:v>
                </c:pt>
                <c:pt idx="557">
                  <c:v>3.6031598967444456E-2</c:v>
                </c:pt>
                <c:pt idx="558">
                  <c:v>3.297119595426401E-2</c:v>
                </c:pt>
                <c:pt idx="559">
                  <c:v>2.9114657150906109E-2</c:v>
                </c:pt>
                <c:pt idx="560">
                  <c:v>3.273378234016644E-2</c:v>
                </c:pt>
                <c:pt idx="561">
                  <c:v>2.8468529031877576E-2</c:v>
                </c:pt>
                <c:pt idx="562">
                  <c:v>3.9657670242844056E-2</c:v>
                </c:pt>
                <c:pt idx="563">
                  <c:v>2.9424531816405586E-2</c:v>
                </c:pt>
                <c:pt idx="564">
                  <c:v>2.4494341168403988E-2</c:v>
                </c:pt>
                <c:pt idx="565">
                  <c:v>2.9626885148651416E-2</c:v>
                </c:pt>
                <c:pt idx="566">
                  <c:v>2.6930327357060024E-2</c:v>
                </c:pt>
                <c:pt idx="567">
                  <c:v>2.0917309273578044E-2</c:v>
                </c:pt>
                <c:pt idx="568">
                  <c:v>1.9514348148051974E-2</c:v>
                </c:pt>
                <c:pt idx="569">
                  <c:v>9.3242046099237808E-3</c:v>
                </c:pt>
                <c:pt idx="570">
                  <c:v>-2.0978447285197044E-3</c:v>
                </c:pt>
                <c:pt idx="571">
                  <c:v>-4.4939522267469778E-3</c:v>
                </c:pt>
                <c:pt idx="572">
                  <c:v>-3.3232623570421671E-3</c:v>
                </c:pt>
                <c:pt idx="573">
                  <c:v>2.2173169599011278E-3</c:v>
                </c:pt>
                <c:pt idx="574">
                  <c:v>1.6577709835970955E-3</c:v>
                </c:pt>
                <c:pt idx="575">
                  <c:v>1.1387912485326668E-2</c:v>
                </c:pt>
                <c:pt idx="576">
                  <c:v>1.0083733030667674E-2</c:v>
                </c:pt>
                <c:pt idx="577">
                  <c:v>6.0143439831079615E-3</c:v>
                </c:pt>
                <c:pt idx="578">
                  <c:v>-3.7659547407800087E-3</c:v>
                </c:pt>
                <c:pt idx="579">
                  <c:v>-2.0261660654995461E-2</c:v>
                </c:pt>
                <c:pt idx="580">
                  <c:v>-2.1221546329601715E-2</c:v>
                </c:pt>
                <c:pt idx="581">
                  <c:v>-3.9242035740377879E-2</c:v>
                </c:pt>
                <c:pt idx="582">
                  <c:v>-4.1261168769235024E-2</c:v>
                </c:pt>
                <c:pt idx="583">
                  <c:v>-4.8624854624202074E-2</c:v>
                </c:pt>
                <c:pt idx="584">
                  <c:v>-5.2030243589909486E-2</c:v>
                </c:pt>
                <c:pt idx="585">
                  <c:v>-5.0279335921699086E-2</c:v>
                </c:pt>
                <c:pt idx="586">
                  <c:v>-4.9361583683397936E-2</c:v>
                </c:pt>
                <c:pt idx="587">
                  <c:v>-6.5476657379571757E-2</c:v>
                </c:pt>
                <c:pt idx="588">
                  <c:v>-7.5911754230865602E-2</c:v>
                </c:pt>
                <c:pt idx="589">
                  <c:v>-7.8205881728582449E-2</c:v>
                </c:pt>
                <c:pt idx="590">
                  <c:v>-8.1258695191300134E-2</c:v>
                </c:pt>
                <c:pt idx="591">
                  <c:v>-7.9447448539289645E-2</c:v>
                </c:pt>
                <c:pt idx="592">
                  <c:v>-8.7852500197614813E-2</c:v>
                </c:pt>
                <c:pt idx="593">
                  <c:v>-7.0409068557521715E-2</c:v>
                </c:pt>
                <c:pt idx="594">
                  <c:v>-6.6880112478531872E-2</c:v>
                </c:pt>
                <c:pt idx="595">
                  <c:v>-6.2220941757060721E-2</c:v>
                </c:pt>
                <c:pt idx="596">
                  <c:v>-6.5729352841997546E-2</c:v>
                </c:pt>
                <c:pt idx="597">
                  <c:v>-6.4506161484732538E-2</c:v>
                </c:pt>
                <c:pt idx="598">
                  <c:v>-6.0655602219849669E-2</c:v>
                </c:pt>
                <c:pt idx="599">
                  <c:v>-5.0285337047713208E-2</c:v>
                </c:pt>
                <c:pt idx="600">
                  <c:v>-3.8008881645344883E-2</c:v>
                </c:pt>
                <c:pt idx="601">
                  <c:v>-4.7930425415488198E-2</c:v>
                </c:pt>
                <c:pt idx="602">
                  <c:v>-3.9754552520035014E-2</c:v>
                </c:pt>
                <c:pt idx="603">
                  <c:v>-5.8346807295883707E-5</c:v>
                </c:pt>
                <c:pt idx="604">
                  <c:v>1.2025944525880572E-2</c:v>
                </c:pt>
                <c:pt idx="605">
                  <c:v>2.965185877127352E-3</c:v>
                </c:pt>
                <c:pt idx="606">
                  <c:v>-1.5598696956732216E-2</c:v>
                </c:pt>
                <c:pt idx="607">
                  <c:v>-1.4679431061093595E-2</c:v>
                </c:pt>
                <c:pt idx="608">
                  <c:v>-4.1527354434933716E-3</c:v>
                </c:pt>
                <c:pt idx="609">
                  <c:v>-1.6590139951830341E-2</c:v>
                </c:pt>
                <c:pt idx="610">
                  <c:v>-3.3899087068896105E-2</c:v>
                </c:pt>
                <c:pt idx="611">
                  <c:v>9.1721316538061481E-3</c:v>
                </c:pt>
                <c:pt idx="612">
                  <c:v>8.3838159831495229E-3</c:v>
                </c:pt>
                <c:pt idx="613">
                  <c:v>7.3707697437980224E-3</c:v>
                </c:pt>
                <c:pt idx="614">
                  <c:v>-7.0796342779363419E-3</c:v>
                </c:pt>
                <c:pt idx="615">
                  <c:v>-1.1698406762489677E-2</c:v>
                </c:pt>
                <c:pt idx="616">
                  <c:v>-1.5529194736436658E-2</c:v>
                </c:pt>
                <c:pt idx="617">
                  <c:v>4.8207724173743305E-3</c:v>
                </c:pt>
                <c:pt idx="618">
                  <c:v>-1.7491751430431801E-4</c:v>
                </c:pt>
                <c:pt idx="619">
                  <c:v>1.5194751644771243E-2</c:v>
                </c:pt>
                <c:pt idx="620">
                  <c:v>3.5945634906476398E-2</c:v>
                </c:pt>
                <c:pt idx="621">
                  <c:v>2.7024109713855271E-2</c:v>
                </c:pt>
                <c:pt idx="622">
                  <c:v>6.374841620181082E-2</c:v>
                </c:pt>
                <c:pt idx="623">
                  <c:v>7.9197091247845131E-2</c:v>
                </c:pt>
                <c:pt idx="624">
                  <c:v>8.0254814545797748E-2</c:v>
                </c:pt>
                <c:pt idx="625">
                  <c:v>9.2481993851503241E-2</c:v>
                </c:pt>
                <c:pt idx="626">
                  <c:v>9.0385572622846522E-2</c:v>
                </c:pt>
                <c:pt idx="627">
                  <c:v>7.9630612729779338E-2</c:v>
                </c:pt>
                <c:pt idx="628">
                  <c:v>7.5876683589928828E-2</c:v>
                </c:pt>
                <c:pt idx="629">
                  <c:v>6.703594772887389E-2</c:v>
                </c:pt>
                <c:pt idx="630">
                  <c:v>4.1243102405680299E-2</c:v>
                </c:pt>
                <c:pt idx="631">
                  <c:v>8.0543640412526041E-2</c:v>
                </c:pt>
                <c:pt idx="632">
                  <c:v>8.772657094881342E-2</c:v>
                </c:pt>
                <c:pt idx="633">
                  <c:v>5.1277999530293938E-2</c:v>
                </c:pt>
                <c:pt idx="634">
                  <c:v>3.2974883507403741E-2</c:v>
                </c:pt>
                <c:pt idx="635">
                  <c:v>3.8631594123572366E-2</c:v>
                </c:pt>
                <c:pt idx="636">
                  <c:v>6.3310072637423609E-2</c:v>
                </c:pt>
                <c:pt idx="637">
                  <c:v>6.762273723398371E-2</c:v>
                </c:pt>
                <c:pt idx="638">
                  <c:v>7.3280707759448227E-2</c:v>
                </c:pt>
                <c:pt idx="639">
                  <c:v>6.102630793445335E-2</c:v>
                </c:pt>
                <c:pt idx="640">
                  <c:v>7.8291123833266696E-2</c:v>
                </c:pt>
                <c:pt idx="641">
                  <c:v>7.2193887650269795E-2</c:v>
                </c:pt>
                <c:pt idx="642">
                  <c:v>5.3441116799722743E-2</c:v>
                </c:pt>
                <c:pt idx="643">
                  <c:v>3.3204875013229995E-2</c:v>
                </c:pt>
                <c:pt idx="644">
                  <c:v>2.7891126077066453E-2</c:v>
                </c:pt>
                <c:pt idx="645">
                  <c:v>2.8311840515746978E-2</c:v>
                </c:pt>
                <c:pt idx="646">
                  <c:v>-5.814379405478598E-2</c:v>
                </c:pt>
                <c:pt idx="647">
                  <c:v>-5.2014164886795555E-2</c:v>
                </c:pt>
                <c:pt idx="648">
                  <c:v>-5.3980538862581695E-2</c:v>
                </c:pt>
                <c:pt idx="649">
                  <c:v>-5.4094420016775557E-2</c:v>
                </c:pt>
                <c:pt idx="650">
                  <c:v>-3.3841407357299125E-2</c:v>
                </c:pt>
                <c:pt idx="651">
                  <c:v>-1.8373918359418262E-2</c:v>
                </c:pt>
                <c:pt idx="652">
                  <c:v>-2.5107220505284911E-3</c:v>
                </c:pt>
                <c:pt idx="653">
                  <c:v>5.2939716304463147E-3</c:v>
                </c:pt>
                <c:pt idx="654">
                  <c:v>1.319023871764724E-2</c:v>
                </c:pt>
                <c:pt idx="655">
                  <c:v>-1.6914057729081278E-2</c:v>
                </c:pt>
                <c:pt idx="656">
                  <c:v>-2.4401685314705546E-3</c:v>
                </c:pt>
                <c:pt idx="657">
                  <c:v>-6.1500429472826079E-3</c:v>
                </c:pt>
                <c:pt idx="658">
                  <c:v>-1.7937498433409083E-2</c:v>
                </c:pt>
                <c:pt idx="659">
                  <c:v>-1.7518429294531068E-2</c:v>
                </c:pt>
                <c:pt idx="660">
                  <c:v>3.7296507079054297E-3</c:v>
                </c:pt>
                <c:pt idx="661">
                  <c:v>2.9908659880385713E-2</c:v>
                </c:pt>
                <c:pt idx="662">
                  <c:v>8.0115284668769049E-2</c:v>
                </c:pt>
                <c:pt idx="663">
                  <c:v>8.1113911248599568E-2</c:v>
                </c:pt>
                <c:pt idx="664">
                  <c:v>6.4616899554482132E-2</c:v>
                </c:pt>
                <c:pt idx="665">
                  <c:v>6.039993808962496E-2</c:v>
                </c:pt>
                <c:pt idx="666">
                  <c:v>7.3905481962557418E-2</c:v>
                </c:pt>
                <c:pt idx="667">
                  <c:v>5.3326102128647634E-2</c:v>
                </c:pt>
                <c:pt idx="668">
                  <c:v>4.8314014890938894E-3</c:v>
                </c:pt>
                <c:pt idx="669">
                  <c:v>4.7076977306444001E-2</c:v>
                </c:pt>
                <c:pt idx="670">
                  <c:v>4.7019484454112304E-2</c:v>
                </c:pt>
                <c:pt idx="671">
                  <c:v>5.2267987136776495E-2</c:v>
                </c:pt>
                <c:pt idx="672">
                  <c:v>6.6911082047152459E-2</c:v>
                </c:pt>
                <c:pt idx="673">
                  <c:v>3.9450534172754903E-2</c:v>
                </c:pt>
                <c:pt idx="674">
                  <c:v>2.3933369138867011E-2</c:v>
                </c:pt>
                <c:pt idx="675">
                  <c:v>1.9440496014960895E-2</c:v>
                </c:pt>
                <c:pt idx="676">
                  <c:v>2.2837995026259161E-2</c:v>
                </c:pt>
                <c:pt idx="677">
                  <c:v>2.2059814024472102E-2</c:v>
                </c:pt>
                <c:pt idx="678">
                  <c:v>2.8504800802954366E-2</c:v>
                </c:pt>
                <c:pt idx="679">
                  <c:v>2.9565470538948424E-2</c:v>
                </c:pt>
                <c:pt idx="680">
                  <c:v>2.619563726647689E-2</c:v>
                </c:pt>
                <c:pt idx="681">
                  <c:v>2.0128275929274575E-2</c:v>
                </c:pt>
                <c:pt idx="682">
                  <c:v>2.4766036129018731E-2</c:v>
                </c:pt>
                <c:pt idx="683">
                  <c:v>2.3328365018365216E-2</c:v>
                </c:pt>
                <c:pt idx="684">
                  <c:v>1.6992456189354965E-2</c:v>
                </c:pt>
                <c:pt idx="685">
                  <c:v>3.3173001270622615E-2</c:v>
                </c:pt>
                <c:pt idx="686">
                  <c:v>3.9428705010734477E-2</c:v>
                </c:pt>
                <c:pt idx="687">
                  <c:v>4.0629933658467454E-2</c:v>
                </c:pt>
                <c:pt idx="688">
                  <c:v>4.379517740783534E-2</c:v>
                </c:pt>
                <c:pt idx="689">
                  <c:v>4.4801949728295321E-2</c:v>
                </c:pt>
                <c:pt idx="690">
                  <c:v>4.508534887934923E-2</c:v>
                </c:pt>
                <c:pt idx="691">
                  <c:v>5.4500123294021541E-2</c:v>
                </c:pt>
                <c:pt idx="692">
                  <c:v>4.8388979506955532E-2</c:v>
                </c:pt>
                <c:pt idx="693">
                  <c:v>4.715247724978755E-2</c:v>
                </c:pt>
                <c:pt idx="694">
                  <c:v>4.7684851635032666E-2</c:v>
                </c:pt>
                <c:pt idx="695">
                  <c:v>4.7668195847578421E-2</c:v>
                </c:pt>
                <c:pt idx="696">
                  <c:v>4.8789105936522525E-2</c:v>
                </c:pt>
                <c:pt idx="697">
                  <c:v>5.0646469309501119E-2</c:v>
                </c:pt>
                <c:pt idx="698">
                  <c:v>5.2429350174461375E-2</c:v>
                </c:pt>
                <c:pt idx="699">
                  <c:v>5.2526146157823028E-2</c:v>
                </c:pt>
                <c:pt idx="700">
                  <c:v>5.3732485241505978E-2</c:v>
                </c:pt>
                <c:pt idx="701">
                  <c:v>4.7568555261894074E-2</c:v>
                </c:pt>
                <c:pt idx="702">
                  <c:v>4.7945213725566149E-2</c:v>
                </c:pt>
                <c:pt idx="703">
                  <c:v>4.309498174204851E-2</c:v>
                </c:pt>
                <c:pt idx="704">
                  <c:v>4.6309104928342948E-2</c:v>
                </c:pt>
                <c:pt idx="705">
                  <c:v>4.8232179221038063E-2</c:v>
                </c:pt>
                <c:pt idx="706">
                  <c:v>4.5973361497350096E-2</c:v>
                </c:pt>
                <c:pt idx="707">
                  <c:v>3.4075142941915715E-2</c:v>
                </c:pt>
                <c:pt idx="708">
                  <c:v>2.449789070817554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809E-2</c:v>
                </c:pt>
                <c:pt idx="718">
                  <c:v>1.1082942401621776E-2</c:v>
                </c:pt>
                <c:pt idx="719">
                  <c:v>1.1422228938955059E-2</c:v>
                </c:pt>
                <c:pt idx="720">
                  <c:v>1.3556095247134192E-2</c:v>
                </c:pt>
                <c:pt idx="721">
                  <c:v>8.8789597156164746E-3</c:v>
                </c:pt>
                <c:pt idx="722">
                  <c:v>1.1983830329535206E-2</c:v>
                </c:pt>
                <c:pt idx="723">
                  <c:v>1.0768737488399349E-2</c:v>
                </c:pt>
                <c:pt idx="724">
                  <c:v>1.37101063969296E-2</c:v>
                </c:pt>
                <c:pt idx="725">
                  <c:v>6.8358502662592135E-3</c:v>
                </c:pt>
                <c:pt idx="726">
                  <c:v>-5.3235873758044061E-3</c:v>
                </c:pt>
                <c:pt idx="727">
                  <c:v>-1.5642929144558115E-2</c:v>
                </c:pt>
                <c:pt idx="728">
                  <c:v>-1.6472719860000984E-2</c:v>
                </c:pt>
                <c:pt idx="729">
                  <c:v>-2.8082240733585673E-2</c:v>
                </c:pt>
                <c:pt idx="730">
                  <c:v>-4.5290244373148325E-2</c:v>
                </c:pt>
                <c:pt idx="731">
                  <c:v>-4.4815206335667046E-2</c:v>
                </c:pt>
                <c:pt idx="732">
                  <c:v>-5.5586588719534702E-2</c:v>
                </c:pt>
                <c:pt idx="733">
                  <c:v>-5.6340403980994935E-2</c:v>
                </c:pt>
                <c:pt idx="734">
                  <c:v>-5.2716568605009839E-2</c:v>
                </c:pt>
                <c:pt idx="735">
                  <c:v>-5.8375506797649135E-2</c:v>
                </c:pt>
                <c:pt idx="736">
                  <c:v>-5.8418557160839657E-2</c:v>
                </c:pt>
                <c:pt idx="737">
                  <c:v>-5.4568196731602625E-2</c:v>
                </c:pt>
                <c:pt idx="738">
                  <c:v>-5.6363257846706039E-2</c:v>
                </c:pt>
                <c:pt idx="739">
                  <c:v>-3.5607386104514527E-2</c:v>
                </c:pt>
                <c:pt idx="740">
                  <c:v>-3.7145276579528375E-2</c:v>
                </c:pt>
                <c:pt idx="741">
                  <c:v>-3.8197099205611984E-2</c:v>
                </c:pt>
                <c:pt idx="742">
                  <c:v>-3.5962551895432626E-2</c:v>
                </c:pt>
                <c:pt idx="743">
                  <c:v>-3.8368760279126501E-2</c:v>
                </c:pt>
                <c:pt idx="744">
                  <c:v>-5.1845162985130422E-2</c:v>
                </c:pt>
                <c:pt idx="745">
                  <c:v>-3.8353341553126086E-2</c:v>
                </c:pt>
                <c:pt idx="746">
                  <c:v>-4.2606909206151622E-2</c:v>
                </c:pt>
                <c:pt idx="747">
                  <c:v>-3.2936468004562847E-2</c:v>
                </c:pt>
                <c:pt idx="748">
                  <c:v>-3.5094475941387593E-2</c:v>
                </c:pt>
                <c:pt idx="749">
                  <c:v>-3.9989888344413083E-2</c:v>
                </c:pt>
                <c:pt idx="750">
                  <c:v>-4.6051418882366191E-2</c:v>
                </c:pt>
                <c:pt idx="751">
                  <c:v>-4.7886538819385982E-2</c:v>
                </c:pt>
                <c:pt idx="752">
                  <c:v>-3.9892852338013651E-2</c:v>
                </c:pt>
                <c:pt idx="753">
                  <c:v>-4.2006001545793481E-2</c:v>
                </c:pt>
                <c:pt idx="754">
                  <c:v>-4.8650196348263619E-2</c:v>
                </c:pt>
                <c:pt idx="755">
                  <c:v>-4.4910826977385687E-2</c:v>
                </c:pt>
                <c:pt idx="756">
                  <c:v>-3.4669916294760239E-2</c:v>
                </c:pt>
                <c:pt idx="757">
                  <c:v>-2.8043739541810497E-2</c:v>
                </c:pt>
                <c:pt idx="758">
                  <c:v>-2.3469943546842065E-2</c:v>
                </c:pt>
                <c:pt idx="759">
                  <c:v>-2.4273350805054217E-2</c:v>
                </c:pt>
                <c:pt idx="760">
                  <c:v>-1.5796596329179735E-2</c:v>
                </c:pt>
                <c:pt idx="761">
                  <c:v>-1.5919861467496799E-2</c:v>
                </c:pt>
                <c:pt idx="762">
                  <c:v>-1.1960685123476478E-2</c:v>
                </c:pt>
                <c:pt idx="763">
                  <c:v>-1.0298498255279509E-2</c:v>
                </c:pt>
                <c:pt idx="764">
                  <c:v>-2.1359035422263584E-2</c:v>
                </c:pt>
                <c:pt idx="765">
                  <c:v>-2.0267178193584146E-2</c:v>
                </c:pt>
                <c:pt idx="766">
                  <c:v>-2.0116389558236913E-2</c:v>
                </c:pt>
                <c:pt idx="767">
                  <c:v>-2.6103393868297631E-2</c:v>
                </c:pt>
                <c:pt idx="768">
                  <c:v>-2.0834475274131958E-2</c:v>
                </c:pt>
                <c:pt idx="769">
                  <c:v>-2.6073112761902273E-2</c:v>
                </c:pt>
                <c:pt idx="770">
                  <c:v>-2.4325429597714665E-2</c:v>
                </c:pt>
                <c:pt idx="771">
                  <c:v>-2.2408963743004828E-2</c:v>
                </c:pt>
                <c:pt idx="772">
                  <c:v>-3.0692574825618824E-2</c:v>
                </c:pt>
                <c:pt idx="773">
                  <c:v>-2.424768557084811E-2</c:v>
                </c:pt>
                <c:pt idx="774">
                  <c:v>-1.0026371867638328E-2</c:v>
                </c:pt>
                <c:pt idx="775">
                  <c:v>-2.7401969657888658E-3</c:v>
                </c:pt>
                <c:pt idx="776">
                  <c:v>-6.9592270589340366E-3</c:v>
                </c:pt>
                <c:pt idx="777">
                  <c:v>-2.7817936452141034E-2</c:v>
                </c:pt>
                <c:pt idx="778">
                  <c:v>-2.440571954428683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174E-2</c:v>
                </c:pt>
                <c:pt idx="788">
                  <c:v>-2.0375318277487953E-2</c:v>
                </c:pt>
                <c:pt idx="789">
                  <c:v>-1.7650825501914214E-2</c:v>
                </c:pt>
                <c:pt idx="790">
                  <c:v>-1.9311253143174278E-2</c:v>
                </c:pt>
                <c:pt idx="791">
                  <c:v>-1.432448306786227E-2</c:v>
                </c:pt>
                <c:pt idx="792">
                  <c:v>-1.1596530185670972E-2</c:v>
                </c:pt>
                <c:pt idx="793">
                  <c:v>-1.4747034391042968E-2</c:v>
                </c:pt>
                <c:pt idx="794">
                  <c:v>-8.4137401412672785E-3</c:v>
                </c:pt>
                <c:pt idx="795">
                  <c:v>-6.8529652044569955E-3</c:v>
                </c:pt>
                <c:pt idx="796">
                  <c:v>-7.5009322213803742E-3</c:v>
                </c:pt>
                <c:pt idx="797">
                  <c:v>1.7931410989033836E-3</c:v>
                </c:pt>
                <c:pt idx="798">
                  <c:v>6.251478336059435E-3</c:v>
                </c:pt>
                <c:pt idx="799">
                  <c:v>5.6232764080261788E-3</c:v>
                </c:pt>
                <c:pt idx="800">
                  <c:v>5.0088762992139824E-3</c:v>
                </c:pt>
                <c:pt idx="801">
                  <c:v>1.1412563145432042E-3</c:v>
                </c:pt>
                <c:pt idx="802">
                  <c:v>8.7116241684728202E-3</c:v>
                </c:pt>
                <c:pt idx="803">
                  <c:v>3.5474005864415403E-3</c:v>
                </c:pt>
                <c:pt idx="804">
                  <c:v>4.3970514682736273E-3</c:v>
                </c:pt>
                <c:pt idx="805">
                  <c:v>3.5332684871641762E-3</c:v>
                </c:pt>
                <c:pt idx="806">
                  <c:v>9.2978748743323125E-3</c:v>
                </c:pt>
                <c:pt idx="807">
                  <c:v>2.3003371102608972E-2</c:v>
                </c:pt>
                <c:pt idx="808">
                  <c:v>2.0844483233590227E-2</c:v>
                </c:pt>
                <c:pt idx="809">
                  <c:v>1.1432374843170501E-2</c:v>
                </c:pt>
                <c:pt idx="810">
                  <c:v>1.7648604981297389E-2</c:v>
                </c:pt>
                <c:pt idx="811">
                  <c:v>1.7607562205728344E-2</c:v>
                </c:pt>
                <c:pt idx="812">
                  <c:v>7.5000598415683184E-3</c:v>
                </c:pt>
                <c:pt idx="813">
                  <c:v>1.600135119739321E-2</c:v>
                </c:pt>
                <c:pt idx="814">
                  <c:v>7.7333525051983543E-3</c:v>
                </c:pt>
                <c:pt idx="815">
                  <c:v>3.779780356738538E-5</c:v>
                </c:pt>
                <c:pt idx="816">
                  <c:v>7.0493268488854843E-3</c:v>
                </c:pt>
                <c:pt idx="817">
                  <c:v>9.1655096377899481E-3</c:v>
                </c:pt>
                <c:pt idx="818">
                  <c:v>-2.0597659133390067E-3</c:v>
                </c:pt>
                <c:pt idx="819">
                  <c:v>-1.7353426944860528E-3</c:v>
                </c:pt>
                <c:pt idx="820">
                  <c:v>-5.8185872207616729E-4</c:v>
                </c:pt>
                <c:pt idx="821">
                  <c:v>1.8611940018929962E-3</c:v>
                </c:pt>
                <c:pt idx="822">
                  <c:v>3.5162007829429021E-3</c:v>
                </c:pt>
                <c:pt idx="823">
                  <c:v>4.9687817926598044E-3</c:v>
                </c:pt>
                <c:pt idx="824">
                  <c:v>1.3383580611568635E-2</c:v>
                </c:pt>
                <c:pt idx="825">
                  <c:v>1.1511798279510987E-2</c:v>
                </c:pt>
                <c:pt idx="826">
                  <c:v>2.2587049264298775E-3</c:v>
                </c:pt>
                <c:pt idx="827">
                  <c:v>6.4346063209163029E-3</c:v>
                </c:pt>
                <c:pt idx="828">
                  <c:v>-3.5785011821267698E-3</c:v>
                </c:pt>
                <c:pt idx="829">
                  <c:v>-4.6122008481321863E-3</c:v>
                </c:pt>
                <c:pt idx="830">
                  <c:v>-7.0720122118316242E-3</c:v>
                </c:pt>
                <c:pt idx="831">
                  <c:v>-5.3850527123125991E-3</c:v>
                </c:pt>
                <c:pt idx="832">
                  <c:v>-1.0512211329843479E-2</c:v>
                </c:pt>
                <c:pt idx="833">
                  <c:v>-7.0838471051924978E-3</c:v>
                </c:pt>
                <c:pt idx="834">
                  <c:v>-1.5200489753181223E-2</c:v>
                </c:pt>
                <c:pt idx="835">
                  <c:v>-1.6987652877776926E-2</c:v>
                </c:pt>
                <c:pt idx="836">
                  <c:v>-1.5632481230115403E-2</c:v>
                </c:pt>
                <c:pt idx="837">
                  <c:v>-1.7085043261071742E-2</c:v>
                </c:pt>
                <c:pt idx="838">
                  <c:v>-1.673402620447384E-2</c:v>
                </c:pt>
                <c:pt idx="839">
                  <c:v>-7.5059562357774334E-3</c:v>
                </c:pt>
                <c:pt idx="840">
                  <c:v>-1.0072842394451387E-2</c:v>
                </c:pt>
                <c:pt idx="841">
                  <c:v>-9.8614955562924544E-3</c:v>
                </c:pt>
                <c:pt idx="842">
                  <c:v>-4.8512825081270528E-3</c:v>
                </c:pt>
                <c:pt idx="843">
                  <c:v>-5.1040147423287996E-3</c:v>
                </c:pt>
                <c:pt idx="844">
                  <c:v>-9.180208209726981E-4</c:v>
                </c:pt>
                <c:pt idx="845">
                  <c:v>6.7762537266126133E-3</c:v>
                </c:pt>
                <c:pt idx="846">
                  <c:v>1.1348227164016733E-2</c:v>
                </c:pt>
                <c:pt idx="847">
                  <c:v>1.0399344063485194E-2</c:v>
                </c:pt>
                <c:pt idx="848">
                  <c:v>8.2080089227825059E-3</c:v>
                </c:pt>
                <c:pt idx="849">
                  <c:v>1.1922184819724402E-2</c:v>
                </c:pt>
                <c:pt idx="850">
                  <c:v>-9.7441762238026364E-5</c:v>
                </c:pt>
                <c:pt idx="851">
                  <c:v>-3.2541574766887793E-3</c:v>
                </c:pt>
                <c:pt idx="852">
                  <c:v>-8.373402598723545E-3</c:v>
                </c:pt>
                <c:pt idx="853">
                  <c:v>-9.3932800746896472E-3</c:v>
                </c:pt>
                <c:pt idx="854">
                  <c:v>-1.6865102933835474E-2</c:v>
                </c:pt>
                <c:pt idx="855">
                  <c:v>-1.4161769788150202E-2</c:v>
                </c:pt>
                <c:pt idx="856">
                  <c:v>-6.186133484092915E-3</c:v>
                </c:pt>
                <c:pt idx="857">
                  <c:v>-5.8283655164691472E-3</c:v>
                </c:pt>
                <c:pt idx="858">
                  <c:v>-5.5081476043874478E-3</c:v>
                </c:pt>
                <c:pt idx="859">
                  <c:v>-1.0189080926935601E-3</c:v>
                </c:pt>
                <c:pt idx="860">
                  <c:v>-2.8962743605942531E-4</c:v>
                </c:pt>
                <c:pt idx="861">
                  <c:v>-9.891292709859445E-3</c:v>
                </c:pt>
                <c:pt idx="862">
                  <c:v>-6.6885003200791715E-3</c:v>
                </c:pt>
                <c:pt idx="863">
                  <c:v>-1.6907127317217996E-2</c:v>
                </c:pt>
                <c:pt idx="864">
                  <c:v>-4.8153521058514892E-3</c:v>
                </c:pt>
                <c:pt idx="865">
                  <c:v>-3.0060373776608085E-3</c:v>
                </c:pt>
                <c:pt idx="866">
                  <c:v>-6.5297032261942833E-3</c:v>
                </c:pt>
                <c:pt idx="867">
                  <c:v>-1.6415143904790597E-2</c:v>
                </c:pt>
                <c:pt idx="868">
                  <c:v>-1.3844923542964405E-2</c:v>
                </c:pt>
                <c:pt idx="869">
                  <c:v>-1.307077809576862E-2</c:v>
                </c:pt>
                <c:pt idx="870">
                  <c:v>-8.8301737968022875E-3</c:v>
                </c:pt>
                <c:pt idx="871">
                  <c:v>-1.675733702550275E-2</c:v>
                </c:pt>
                <c:pt idx="872">
                  <c:v>-9.5634452488384536E-3</c:v>
                </c:pt>
                <c:pt idx="873">
                  <c:v>-9.9141997097593748E-3</c:v>
                </c:pt>
                <c:pt idx="874">
                  <c:v>-5.282772497421151E-3</c:v>
                </c:pt>
                <c:pt idx="875">
                  <c:v>-5.8828971221835946E-3</c:v>
                </c:pt>
                <c:pt idx="876">
                  <c:v>-7.0974701652875005E-3</c:v>
                </c:pt>
                <c:pt idx="877">
                  <c:v>-1.0337260015140681E-2</c:v>
                </c:pt>
                <c:pt idx="878">
                  <c:v>-4.073021354727091E-3</c:v>
                </c:pt>
                <c:pt idx="879">
                  <c:v>-3.0235583701337942E-3</c:v>
                </c:pt>
                <c:pt idx="880">
                  <c:v>1.3424526128743564E-3</c:v>
                </c:pt>
                <c:pt idx="881">
                  <c:v>4.1170723583419111E-3</c:v>
                </c:pt>
                <c:pt idx="882">
                  <c:v>8.3067821210043302E-3</c:v>
                </c:pt>
                <c:pt idx="883">
                  <c:v>3.1357298509958609E-3</c:v>
                </c:pt>
                <c:pt idx="884">
                  <c:v>3.0876562427638587E-3</c:v>
                </c:pt>
                <c:pt idx="885">
                  <c:v>5.3351828602982154E-3</c:v>
                </c:pt>
                <c:pt idx="886">
                  <c:v>1.314843619136663E-2</c:v>
                </c:pt>
                <c:pt idx="887">
                  <c:v>1.2798832304276586E-2</c:v>
                </c:pt>
                <c:pt idx="888">
                  <c:v>2.0767117066537E-2</c:v>
                </c:pt>
                <c:pt idx="889">
                  <c:v>1.6563050571186233E-2</c:v>
                </c:pt>
                <c:pt idx="890">
                  <c:v>2.5210777512783E-2</c:v>
                </c:pt>
                <c:pt idx="891">
                  <c:v>4.2513236133093879E-2</c:v>
                </c:pt>
                <c:pt idx="892">
                  <c:v>4.1171800101643563E-2</c:v>
                </c:pt>
                <c:pt idx="893">
                  <c:v>3.9927941473542394E-2</c:v>
                </c:pt>
                <c:pt idx="894">
                  <c:v>3.6619143321657943E-2</c:v>
                </c:pt>
                <c:pt idx="895">
                  <c:v>3.8801353169929387E-2</c:v>
                </c:pt>
                <c:pt idx="896">
                  <c:v>3.9702282600892147E-2</c:v>
                </c:pt>
                <c:pt idx="897">
                  <c:v>4.4009084800410547E-2</c:v>
                </c:pt>
                <c:pt idx="898">
                  <c:v>3.8807083192864744E-2</c:v>
                </c:pt>
                <c:pt idx="899">
                  <c:v>3.6568655813842499E-2</c:v>
                </c:pt>
                <c:pt idx="900">
                  <c:v>3.8544561131076072E-2</c:v>
                </c:pt>
                <c:pt idx="901">
                  <c:v>3.8918441777642476E-2</c:v>
                </c:pt>
                <c:pt idx="902">
                  <c:v>3.2563703613913586E-2</c:v>
                </c:pt>
                <c:pt idx="903">
                  <c:v>1.7629595035053791E-2</c:v>
                </c:pt>
                <c:pt idx="904">
                  <c:v>3.9573896168686451E-3</c:v>
                </c:pt>
                <c:pt idx="905">
                  <c:v>1.2272519600762255E-2</c:v>
                </c:pt>
                <c:pt idx="906">
                  <c:v>9.9417443637871417E-3</c:v>
                </c:pt>
                <c:pt idx="907">
                  <c:v>1.4634672025977791E-2</c:v>
                </c:pt>
                <c:pt idx="908">
                  <c:v>3.4494106424148852E-3</c:v>
                </c:pt>
                <c:pt idx="909">
                  <c:v>5.8658242418726525E-3</c:v>
                </c:pt>
                <c:pt idx="910">
                  <c:v>1.1020573212834561E-2</c:v>
                </c:pt>
                <c:pt idx="911">
                  <c:v>1.4666495868837948E-2</c:v>
                </c:pt>
                <c:pt idx="912">
                  <c:v>1.5746559554803086E-2</c:v>
                </c:pt>
                <c:pt idx="913">
                  <c:v>2.0597773175536793E-2</c:v>
                </c:pt>
                <c:pt idx="914">
                  <c:v>2.0242691729689843E-2</c:v>
                </c:pt>
                <c:pt idx="915">
                  <c:v>1.5752141314590906E-2</c:v>
                </c:pt>
                <c:pt idx="916">
                  <c:v>1.5152160106347234E-2</c:v>
                </c:pt>
                <c:pt idx="917">
                  <c:v>1.4395978029183021E-2</c:v>
                </c:pt>
                <c:pt idx="918">
                  <c:v>1.980821583560477E-2</c:v>
                </c:pt>
                <c:pt idx="919">
                  <c:v>2.0296003215117153E-2</c:v>
                </c:pt>
                <c:pt idx="920">
                  <c:v>1.3113637763720987E-2</c:v>
                </c:pt>
                <c:pt idx="921">
                  <c:v>2.9643177813363231E-3</c:v>
                </c:pt>
                <c:pt idx="922">
                  <c:v>3.4615461821725368E-3</c:v>
                </c:pt>
                <c:pt idx="923">
                  <c:v>1.1608660965464868E-2</c:v>
                </c:pt>
                <c:pt idx="924">
                  <c:v>1.425695643415692E-2</c:v>
                </c:pt>
                <c:pt idx="925">
                  <c:v>1.2462599177277989E-2</c:v>
                </c:pt>
                <c:pt idx="926">
                  <c:v>5.2826836968457025E-3</c:v>
                </c:pt>
                <c:pt idx="927">
                  <c:v>4.5389669253591558E-3</c:v>
                </c:pt>
                <c:pt idx="928">
                  <c:v>1.0652548709195964E-2</c:v>
                </c:pt>
                <c:pt idx="929">
                  <c:v>8.4539336020684752E-3</c:v>
                </c:pt>
                <c:pt idx="930">
                  <c:v>-6.6237714754746602E-4</c:v>
                </c:pt>
                <c:pt idx="931">
                  <c:v>1.4713804388887253E-3</c:v>
                </c:pt>
                <c:pt idx="932">
                  <c:v>1.5541119614245535E-2</c:v>
                </c:pt>
                <c:pt idx="933">
                  <c:v>2.3187938410738296E-2</c:v>
                </c:pt>
                <c:pt idx="934">
                  <c:v>3.5702731926456899E-2</c:v>
                </c:pt>
                <c:pt idx="935">
                  <c:v>2.7474308268041647E-2</c:v>
                </c:pt>
                <c:pt idx="936">
                  <c:v>3.1030720049564753E-2</c:v>
                </c:pt>
                <c:pt idx="937">
                  <c:v>2.9008347495492193E-2</c:v>
                </c:pt>
                <c:pt idx="938">
                  <c:v>3.7878193516985292E-2</c:v>
                </c:pt>
                <c:pt idx="939">
                  <c:v>3.6844422611997274E-2</c:v>
                </c:pt>
                <c:pt idx="940">
                  <c:v>4.473608722244149E-2</c:v>
                </c:pt>
                <c:pt idx="941">
                  <c:v>3.9877953036701164E-2</c:v>
                </c:pt>
                <c:pt idx="942">
                  <c:v>3.4937522098282381E-2</c:v>
                </c:pt>
                <c:pt idx="943">
                  <c:v>2.5335705213797022E-2</c:v>
                </c:pt>
                <c:pt idx="944">
                  <c:v>1.6083029409117988E-2</c:v>
                </c:pt>
                <c:pt idx="945">
                  <c:v>1.040510954029672E-2</c:v>
                </c:pt>
                <c:pt idx="946">
                  <c:v>7.1343793462984584E-3</c:v>
                </c:pt>
                <c:pt idx="947">
                  <c:v>1.3250449234059603E-2</c:v>
                </c:pt>
                <c:pt idx="948">
                  <c:v>3.5515375407481065E-3</c:v>
                </c:pt>
                <c:pt idx="949">
                  <c:v>7.9008314314005235E-3</c:v>
                </c:pt>
                <c:pt idx="950">
                  <c:v>1.2436521372001574E-2</c:v>
                </c:pt>
                <c:pt idx="951">
                  <c:v>1.2617438803443126E-2</c:v>
                </c:pt>
                <c:pt idx="952">
                  <c:v>1.5965373559954532E-2</c:v>
                </c:pt>
                <c:pt idx="953">
                  <c:v>1.3869016787217303E-2</c:v>
                </c:pt>
                <c:pt idx="954">
                  <c:v>9.4684302496617079E-3</c:v>
                </c:pt>
                <c:pt idx="955">
                  <c:v>-2.1162997378543214E-4</c:v>
                </c:pt>
                <c:pt idx="956">
                  <c:v>5.1090391726555939E-3</c:v>
                </c:pt>
                <c:pt idx="957">
                  <c:v>-2.0232140776408336E-3</c:v>
                </c:pt>
                <c:pt idx="958">
                  <c:v>2.3258849409066862E-3</c:v>
                </c:pt>
                <c:pt idx="959">
                  <c:v>8.6072574732716234E-3</c:v>
                </c:pt>
                <c:pt idx="960">
                  <c:v>1.3297250042342945E-2</c:v>
                </c:pt>
                <c:pt idx="961">
                  <c:v>5.6440166307719641E-3</c:v>
                </c:pt>
                <c:pt idx="962">
                  <c:v>4.5298167794635136E-3</c:v>
                </c:pt>
                <c:pt idx="963">
                  <c:v>8.0390010079081087E-3</c:v>
                </c:pt>
                <c:pt idx="964">
                  <c:v>3.8198870371399796E-3</c:v>
                </c:pt>
                <c:pt idx="965">
                  <c:v>2.589799928832015E-3</c:v>
                </c:pt>
                <c:pt idx="966">
                  <c:v>2.9643879124072736E-3</c:v>
                </c:pt>
                <c:pt idx="967">
                  <c:v>-9.5848444220758555E-4</c:v>
                </c:pt>
                <c:pt idx="968">
                  <c:v>-4.6492146198079398E-3</c:v>
                </c:pt>
                <c:pt idx="969">
                  <c:v>-6.0082671147987377E-3</c:v>
                </c:pt>
                <c:pt idx="970">
                  <c:v>-6.2019304679309384E-3</c:v>
                </c:pt>
                <c:pt idx="971">
                  <c:v>-1.3091572028962606E-2</c:v>
                </c:pt>
                <c:pt idx="972">
                  <c:v>-1.4155398732297431E-2</c:v>
                </c:pt>
                <c:pt idx="973">
                  <c:v>-1.5204410905904631E-2</c:v>
                </c:pt>
                <c:pt idx="974">
                  <c:v>-9.6217984201771856E-3</c:v>
                </c:pt>
                <c:pt idx="975">
                  <c:v>-8.5292580872052826E-3</c:v>
                </c:pt>
                <c:pt idx="976">
                  <c:v>-1.0582159238065714E-2</c:v>
                </c:pt>
                <c:pt idx="977">
                  <c:v>-1.7102624170491798E-2</c:v>
                </c:pt>
                <c:pt idx="978">
                  <c:v>-1.655681508257234E-2</c:v>
                </c:pt>
                <c:pt idx="979">
                  <c:v>-2.2655521921265853E-2</c:v>
                </c:pt>
                <c:pt idx="980">
                  <c:v>-1.6509200389459799E-2</c:v>
                </c:pt>
                <c:pt idx="981">
                  <c:v>-1.754526241121146E-2</c:v>
                </c:pt>
                <c:pt idx="982">
                  <c:v>-1.8268701243103314E-2</c:v>
                </c:pt>
                <c:pt idx="983">
                  <c:v>-1.1744798229150644E-2</c:v>
                </c:pt>
                <c:pt idx="984">
                  <c:v>-4.4351060633386341E-3</c:v>
                </c:pt>
                <c:pt idx="985">
                  <c:v>8.1351836464091942E-3</c:v>
                </c:pt>
                <c:pt idx="986">
                  <c:v>1.2689258614134724E-2</c:v>
                </c:pt>
                <c:pt idx="987">
                  <c:v>1.3584526385732487E-2</c:v>
                </c:pt>
                <c:pt idx="988">
                  <c:v>1.4403102461903572E-2</c:v>
                </c:pt>
                <c:pt idx="989">
                  <c:v>1.371533181283302E-2</c:v>
                </c:pt>
                <c:pt idx="990">
                  <c:v>1.731535165767506E-2</c:v>
                </c:pt>
                <c:pt idx="991">
                  <c:v>2.2919410758638237E-2</c:v>
                </c:pt>
                <c:pt idx="992">
                  <c:v>2.3141940048854948E-2</c:v>
                </c:pt>
                <c:pt idx="993">
                  <c:v>2.3961466699613521E-2</c:v>
                </c:pt>
                <c:pt idx="994">
                  <c:v>2.4601535732709845E-2</c:v>
                </c:pt>
                <c:pt idx="995">
                  <c:v>2.7347440228473019E-2</c:v>
                </c:pt>
                <c:pt idx="996">
                  <c:v>3.0482607438213516E-2</c:v>
                </c:pt>
                <c:pt idx="997">
                  <c:v>2.8146364860337059E-2</c:v>
                </c:pt>
                <c:pt idx="998">
                  <c:v>3.8411723323006797E-2</c:v>
                </c:pt>
                <c:pt idx="999">
                  <c:v>3.7700740581608105E-2</c:v>
                </c:pt>
                <c:pt idx="1000">
                  <c:v>3.1531441163773266E-2</c:v>
                </c:pt>
                <c:pt idx="1001">
                  <c:v>4.2620949138624242E-2</c:v>
                </c:pt>
                <c:pt idx="1002">
                  <c:v>3.582734547390698E-2</c:v>
                </c:pt>
                <c:pt idx="1003">
                  <c:v>3.486976244496609E-2</c:v>
                </c:pt>
                <c:pt idx="1004">
                  <c:v>2.7563429386428417E-2</c:v>
                </c:pt>
                <c:pt idx="1005">
                  <c:v>3.2750782798610212E-2</c:v>
                </c:pt>
                <c:pt idx="1006">
                  <c:v>3.112453054748987E-2</c:v>
                </c:pt>
                <c:pt idx="1007">
                  <c:v>3.6388143229373338E-2</c:v>
                </c:pt>
                <c:pt idx="1008">
                  <c:v>4.2249607760409646E-2</c:v>
                </c:pt>
                <c:pt idx="1009">
                  <c:v>4.3804328279374083E-2</c:v>
                </c:pt>
                <c:pt idx="1010">
                  <c:v>3.6774928136007801E-2</c:v>
                </c:pt>
                <c:pt idx="1011">
                  <c:v>4.0446139405035164E-2</c:v>
                </c:pt>
                <c:pt idx="1012">
                  <c:v>4.0686265230823193E-2</c:v>
                </c:pt>
                <c:pt idx="1013">
                  <c:v>3.2609386710211075E-2</c:v>
                </c:pt>
                <c:pt idx="1014">
                  <c:v>3.163602154352918E-2</c:v>
                </c:pt>
                <c:pt idx="1015">
                  <c:v>3.1109585411805973E-2</c:v>
                </c:pt>
                <c:pt idx="1016">
                  <c:v>2.9197905987134565E-2</c:v>
                </c:pt>
                <c:pt idx="1017">
                  <c:v>3.761184888707958E-2</c:v>
                </c:pt>
                <c:pt idx="1018">
                  <c:v>2.5879547649001577E-2</c:v>
                </c:pt>
                <c:pt idx="1019">
                  <c:v>2.2596143571890215E-2</c:v>
                </c:pt>
                <c:pt idx="1020">
                  <c:v>1.8885330865718419E-2</c:v>
                </c:pt>
                <c:pt idx="1021">
                  <c:v>1.9383511238660445E-2</c:v>
                </c:pt>
                <c:pt idx="1022">
                  <c:v>2.2308968916713412E-2</c:v>
                </c:pt>
                <c:pt idx="1023">
                  <c:v>1.1671243583691204E-2</c:v>
                </c:pt>
                <c:pt idx="1024">
                  <c:v>1.4295218951071997E-2</c:v>
                </c:pt>
                <c:pt idx="1025">
                  <c:v>1.7432173231763493E-2</c:v>
                </c:pt>
                <c:pt idx="1026">
                  <c:v>1.6037073919520473E-2</c:v>
                </c:pt>
                <c:pt idx="1027">
                  <c:v>7.3061763825816861E-3</c:v>
                </c:pt>
                <c:pt idx="1028">
                  <c:v>5.3425460506515421E-3</c:v>
                </c:pt>
                <c:pt idx="1029">
                  <c:v>3.4426247075315386E-3</c:v>
                </c:pt>
                <c:pt idx="1030">
                  <c:v>5.38024851301111E-3</c:v>
                </c:pt>
                <c:pt idx="1031">
                  <c:v>6.2121383428384025E-3</c:v>
                </c:pt>
                <c:pt idx="1032">
                  <c:v>1.6445614891015592E-2</c:v>
                </c:pt>
                <c:pt idx="1033">
                  <c:v>1.3505229775802041E-2</c:v>
                </c:pt>
                <c:pt idx="1034">
                  <c:v>2.1988722714415432E-2</c:v>
                </c:pt>
                <c:pt idx="1035">
                  <c:v>2.2789996423653425E-2</c:v>
                </c:pt>
                <c:pt idx="1036">
                  <c:v>2.2683554712975784E-2</c:v>
                </c:pt>
                <c:pt idx="1037">
                  <c:v>1.6125719766669988E-2</c:v>
                </c:pt>
                <c:pt idx="1038">
                  <c:v>7.4685502317197727E-3</c:v>
                </c:pt>
                <c:pt idx="1039">
                  <c:v>8.0848112536777705E-3</c:v>
                </c:pt>
                <c:pt idx="1040">
                  <c:v>6.3357241611572412E-3</c:v>
                </c:pt>
                <c:pt idx="1041">
                  <c:v>6.8713894629657268E-3</c:v>
                </c:pt>
                <c:pt idx="1042">
                  <c:v>5.339144976540755E-3</c:v>
                </c:pt>
                <c:pt idx="1043">
                  <c:v>-3.3224082435640012E-3</c:v>
                </c:pt>
                <c:pt idx="1044">
                  <c:v>2.3014064962252334E-2</c:v>
                </c:pt>
                <c:pt idx="1045">
                  <c:v>-4.159879348413309E-2</c:v>
                </c:pt>
                <c:pt idx="1046">
                  <c:v>-3.6351258955356847E-2</c:v>
                </c:pt>
                <c:pt idx="1047">
                  <c:v>-2.3734201304644875E-3</c:v>
                </c:pt>
                <c:pt idx="1048">
                  <c:v>-3.2907852330546272E-2</c:v>
                </c:pt>
                <c:pt idx="1049">
                  <c:v>-4.5190027091176144E-2</c:v>
                </c:pt>
                <c:pt idx="1050">
                  <c:v>-8.3860881601728332E-2</c:v>
                </c:pt>
                <c:pt idx="1051">
                  <c:v>-9.5458968243042008E-2</c:v>
                </c:pt>
                <c:pt idx="1052">
                  <c:v>-8.2476658918133605E-2</c:v>
                </c:pt>
                <c:pt idx="1053">
                  <c:v>-3.8949477878287508E-2</c:v>
                </c:pt>
                <c:pt idx="1054">
                  <c:v>-7.715593435822532E-2</c:v>
                </c:pt>
                <c:pt idx="1055">
                  <c:v>-8.7780004507999609E-2</c:v>
                </c:pt>
                <c:pt idx="1056">
                  <c:v>-5.7760193622446221E-2</c:v>
                </c:pt>
                <c:pt idx="1057">
                  <c:v>-5.4804921696332776E-2</c:v>
                </c:pt>
                <c:pt idx="1058">
                  <c:v>-5.9823364571250481E-2</c:v>
                </c:pt>
                <c:pt idx="1059">
                  <c:v>-6.8643205399509966E-2</c:v>
                </c:pt>
                <c:pt idx="1060">
                  <c:v>-5.171217950800322E-2</c:v>
                </c:pt>
                <c:pt idx="1061">
                  <c:v>-5.1463471112697112E-3</c:v>
                </c:pt>
                <c:pt idx="1062">
                  <c:v>-2.316270784154639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6895E-2</c:v>
                </c:pt>
                <c:pt idx="1073">
                  <c:v>-4.574888038090652E-2</c:v>
                </c:pt>
                <c:pt idx="1074">
                  <c:v>-3.4387919189560412E-2</c:v>
                </c:pt>
                <c:pt idx="1075">
                  <c:v>-1.7178773321274265E-2</c:v>
                </c:pt>
                <c:pt idx="1076">
                  <c:v>-1.0427709552560227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24</c:v>
                </c:pt>
                <c:pt idx="1085">
                  <c:v>-3.6327145034552144E-2</c:v>
                </c:pt>
                <c:pt idx="1086">
                  <c:v>-2.1248967139358643E-2</c:v>
                </c:pt>
                <c:pt idx="1087">
                  <c:v>-3.267685832466205E-2</c:v>
                </c:pt>
                <c:pt idx="1088">
                  <c:v>-3.3232991544069557E-2</c:v>
                </c:pt>
                <c:pt idx="1089">
                  <c:v>-1.5325686543045891E-2</c:v>
                </c:pt>
                <c:pt idx="1090">
                  <c:v>1.6845934155434006E-2</c:v>
                </c:pt>
                <c:pt idx="1091">
                  <c:v>8.1743836333982856E-3</c:v>
                </c:pt>
                <c:pt idx="1092">
                  <c:v>2.2529731648303963E-2</c:v>
                </c:pt>
                <c:pt idx="1093">
                  <c:v>6.5913669489523041E-2</c:v>
                </c:pt>
                <c:pt idx="1094">
                  <c:v>0.10668344207061065</c:v>
                </c:pt>
                <c:pt idx="1095">
                  <c:v>0.12530724641998692</c:v>
                </c:pt>
                <c:pt idx="1096">
                  <c:v>0.14452567727457633</c:v>
                </c:pt>
                <c:pt idx="1097">
                  <c:v>0.14271055502330832</c:v>
                </c:pt>
                <c:pt idx="1098">
                  <c:v>0.17929386865174857</c:v>
                </c:pt>
                <c:pt idx="1099">
                  <c:v>0.14656683354942546</c:v>
                </c:pt>
                <c:pt idx="1100">
                  <c:v>0.16348842279702847</c:v>
                </c:pt>
                <c:pt idx="1101">
                  <c:v>0.15931400683592001</c:v>
                </c:pt>
                <c:pt idx="1102">
                  <c:v>0.15432821864965152</c:v>
                </c:pt>
                <c:pt idx="1103">
                  <c:v>0.16046770928843923</c:v>
                </c:pt>
                <c:pt idx="1104">
                  <c:v>9.3809484830472023E-2</c:v>
                </c:pt>
                <c:pt idx="1105">
                  <c:v>9.6726151452918963E-2</c:v>
                </c:pt>
                <c:pt idx="1106">
                  <c:v>7.3050515079590705E-2</c:v>
                </c:pt>
                <c:pt idx="1107">
                  <c:v>5.7638802410384105E-2</c:v>
                </c:pt>
                <c:pt idx="1108">
                  <c:v>3.1636234634381588E-2</c:v>
                </c:pt>
                <c:pt idx="1109">
                  <c:v>-5.6417023302589131E-2</c:v>
                </c:pt>
                <c:pt idx="1110">
                  <c:v>-6.1596638005524063E-2</c:v>
                </c:pt>
                <c:pt idx="1111">
                  <c:v>-7.0410308969964808E-3</c:v>
                </c:pt>
                <c:pt idx="1112">
                  <c:v>-3.4568656651803309E-3</c:v>
                </c:pt>
                <c:pt idx="1113">
                  <c:v>-1.2676665855343661E-2</c:v>
                </c:pt>
                <c:pt idx="1114">
                  <c:v>-1.6531756043567825E-2</c:v>
                </c:pt>
                <c:pt idx="1115">
                  <c:v>-2.2623403572527234E-2</c:v>
                </c:pt>
                <c:pt idx="1116">
                  <c:v>-2.2519794640929902E-2</c:v>
                </c:pt>
                <c:pt idx="1117">
                  <c:v>-1.7016973311121064E-2</c:v>
                </c:pt>
                <c:pt idx="1118">
                  <c:v>-4.1095178867827098E-3</c:v>
                </c:pt>
                <c:pt idx="1119">
                  <c:v>-9.5200220684333869E-3</c:v>
                </c:pt>
                <c:pt idx="1120">
                  <c:v>2.8781767873014008E-3</c:v>
                </c:pt>
                <c:pt idx="1121">
                  <c:v>1.133239141712683E-2</c:v>
                </c:pt>
                <c:pt idx="1122">
                  <c:v>1.3656019124613561E-2</c:v>
                </c:pt>
                <c:pt idx="1123">
                  <c:v>1.0691858964365752E-2</c:v>
                </c:pt>
                <c:pt idx="1124">
                  <c:v>8.0133877711293655E-3</c:v>
                </c:pt>
                <c:pt idx="1125">
                  <c:v>2.0218025045013244E-2</c:v>
                </c:pt>
                <c:pt idx="1126">
                  <c:v>2.0155419638429817E-2</c:v>
                </c:pt>
                <c:pt idx="1127">
                  <c:v>2.3575211970409238E-2</c:v>
                </c:pt>
                <c:pt idx="1128">
                  <c:v>1.8131766631731328E-2</c:v>
                </c:pt>
                <c:pt idx="1129">
                  <c:v>1.1207921540882682E-2</c:v>
                </c:pt>
                <c:pt idx="1130">
                  <c:v>2.3638425147126219E-2</c:v>
                </c:pt>
                <c:pt idx="1131">
                  <c:v>2.8039235979410049E-2</c:v>
                </c:pt>
                <c:pt idx="1132">
                  <c:v>2.5237341117189671E-2</c:v>
                </c:pt>
                <c:pt idx="1133">
                  <c:v>2.4964597099066954E-2</c:v>
                </c:pt>
                <c:pt idx="1134">
                  <c:v>2.9230660924205676E-2</c:v>
                </c:pt>
                <c:pt idx="1135">
                  <c:v>3.3595824365194482E-2</c:v>
                </c:pt>
                <c:pt idx="1136">
                  <c:v>2.2904048468359917E-2</c:v>
                </c:pt>
                <c:pt idx="1137">
                  <c:v>1.8919557849834678E-2</c:v>
                </c:pt>
                <c:pt idx="1138">
                  <c:v>1.4353661495665304E-2</c:v>
                </c:pt>
                <c:pt idx="1139">
                  <c:v>1.2875677053966306E-2</c:v>
                </c:pt>
                <c:pt idx="1140">
                  <c:v>1.3527191510866787E-2</c:v>
                </c:pt>
                <c:pt idx="1141">
                  <c:v>9.7024115164652258E-3</c:v>
                </c:pt>
                <c:pt idx="1142">
                  <c:v>5.7698391859339893E-3</c:v>
                </c:pt>
                <c:pt idx="1143">
                  <c:v>4.6045495632669464E-3</c:v>
                </c:pt>
                <c:pt idx="1144">
                  <c:v>1.1160946643450687E-2</c:v>
                </c:pt>
                <c:pt idx="1145">
                  <c:v>1.415418033973348E-2</c:v>
                </c:pt>
                <c:pt idx="1146">
                  <c:v>2.2209029910685851E-3</c:v>
                </c:pt>
                <c:pt idx="1147">
                  <c:v>4.2373994044301311E-3</c:v>
                </c:pt>
                <c:pt idx="1148">
                  <c:v>8.2820058766445159E-3</c:v>
                </c:pt>
                <c:pt idx="1149">
                  <c:v>1.1952225107770498E-2</c:v>
                </c:pt>
                <c:pt idx="1150">
                  <c:v>8.9828875684998533E-3</c:v>
                </c:pt>
                <c:pt idx="1151">
                  <c:v>-1.2251957064128849E-3</c:v>
                </c:pt>
                <c:pt idx="1152">
                  <c:v>1.027467194953946E-4</c:v>
                </c:pt>
                <c:pt idx="1153">
                  <c:v>1.2271787928620714E-2</c:v>
                </c:pt>
                <c:pt idx="1154">
                  <c:v>9.979886794426851E-3</c:v>
                </c:pt>
                <c:pt idx="1155">
                  <c:v>1.3781490061262613E-2</c:v>
                </c:pt>
                <c:pt idx="1156">
                  <c:v>8.9941371222100885E-3</c:v>
                </c:pt>
                <c:pt idx="1157">
                  <c:v>1.6157907624737233E-2</c:v>
                </c:pt>
                <c:pt idx="1158">
                  <c:v>2.6774734855409488E-2</c:v>
                </c:pt>
                <c:pt idx="1159">
                  <c:v>4.0888210609204334E-2</c:v>
                </c:pt>
                <c:pt idx="1160">
                  <c:v>4.0194907174446626E-2</c:v>
                </c:pt>
                <c:pt idx="1161">
                  <c:v>4.094721202464402E-2</c:v>
                </c:pt>
                <c:pt idx="1162">
                  <c:v>4.5533752839398534E-2</c:v>
                </c:pt>
                <c:pt idx="1163">
                  <c:v>3.6377445225556193E-2</c:v>
                </c:pt>
                <c:pt idx="1164">
                  <c:v>2.3782150119625367E-2</c:v>
                </c:pt>
                <c:pt idx="1165">
                  <c:v>2.6486446512941852E-2</c:v>
                </c:pt>
                <c:pt idx="1166">
                  <c:v>3.0663140296615543E-2</c:v>
                </c:pt>
                <c:pt idx="1167">
                  <c:v>2.8476395527106235E-2</c:v>
                </c:pt>
                <c:pt idx="1168">
                  <c:v>3.4259884259305928E-2</c:v>
                </c:pt>
                <c:pt idx="1169">
                  <c:v>3.3075512850214372E-2</c:v>
                </c:pt>
                <c:pt idx="1170">
                  <c:v>2.4179532845962304E-2</c:v>
                </c:pt>
                <c:pt idx="1171">
                  <c:v>2.057032005876458E-2</c:v>
                </c:pt>
                <c:pt idx="1172">
                  <c:v>2.6541004930567991E-2</c:v>
                </c:pt>
                <c:pt idx="1173">
                  <c:v>2.8555128605143754E-2</c:v>
                </c:pt>
                <c:pt idx="1174">
                  <c:v>2.2509093609725639E-2</c:v>
                </c:pt>
                <c:pt idx="1175">
                  <c:v>2.3459699403710843E-2</c:v>
                </c:pt>
                <c:pt idx="1176">
                  <c:v>3.4383115134653641E-2</c:v>
                </c:pt>
                <c:pt idx="1177">
                  <c:v>3.470374059846415E-2</c:v>
                </c:pt>
                <c:pt idx="1178">
                  <c:v>3.1172157507084797E-2</c:v>
                </c:pt>
                <c:pt idx="1179">
                  <c:v>2.2427582468439122E-2</c:v>
                </c:pt>
                <c:pt idx="1180">
                  <c:v>2.1088372867366534E-2</c:v>
                </c:pt>
                <c:pt idx="1181">
                  <c:v>1.8076590122803937E-2</c:v>
                </c:pt>
                <c:pt idx="1182">
                  <c:v>1.6810494503628814E-2</c:v>
                </c:pt>
                <c:pt idx="1183">
                  <c:v>1.441149758624527E-2</c:v>
                </c:pt>
                <c:pt idx="1184">
                  <c:v>1.9353184845594673E-2</c:v>
                </c:pt>
                <c:pt idx="1185">
                  <c:v>1.8735049650224656E-2</c:v>
                </c:pt>
                <c:pt idx="1186">
                  <c:v>1.9900566766024252E-2</c:v>
                </c:pt>
                <c:pt idx="1187">
                  <c:v>1.4982917163272713E-2</c:v>
                </c:pt>
                <c:pt idx="1188">
                  <c:v>5.3715849315526532E-3</c:v>
                </c:pt>
                <c:pt idx="1189">
                  <c:v>7.7943909421460678E-3</c:v>
                </c:pt>
                <c:pt idx="1190">
                  <c:v>5.4964437094483509E-3</c:v>
                </c:pt>
                <c:pt idx="1191">
                  <c:v>3.8677666508922792E-3</c:v>
                </c:pt>
                <c:pt idx="1192">
                  <c:v>2.6382346317974648E-3</c:v>
                </c:pt>
                <c:pt idx="1193">
                  <c:v>1.8092685451487234E-2</c:v>
                </c:pt>
                <c:pt idx="1194">
                  <c:v>2.6311746982786266E-2</c:v>
                </c:pt>
                <c:pt idx="1195">
                  <c:v>2.131599926411698E-2</c:v>
                </c:pt>
                <c:pt idx="1196">
                  <c:v>2.6691480016262314E-2</c:v>
                </c:pt>
                <c:pt idx="1197">
                  <c:v>2.9309994411782059E-2</c:v>
                </c:pt>
                <c:pt idx="1198">
                  <c:v>3.1201884453235906E-2</c:v>
                </c:pt>
                <c:pt idx="1199">
                  <c:v>2.9202564132666864E-2</c:v>
                </c:pt>
                <c:pt idx="1200">
                  <c:v>3.3594651484372573E-2</c:v>
                </c:pt>
                <c:pt idx="1201">
                  <c:v>3.7570943840317117E-2</c:v>
                </c:pt>
                <c:pt idx="1202">
                  <c:v>3.7395087707936536E-2</c:v>
                </c:pt>
                <c:pt idx="1203">
                  <c:v>3.4925593768760921E-2</c:v>
                </c:pt>
                <c:pt idx="1204">
                  <c:v>3.0050974076195835E-2</c:v>
                </c:pt>
                <c:pt idx="1205">
                  <c:v>2.7293211042651699E-2</c:v>
                </c:pt>
                <c:pt idx="1206">
                  <c:v>2.7532772985316645E-2</c:v>
                </c:pt>
                <c:pt idx="1207">
                  <c:v>2.0021123564706089E-2</c:v>
                </c:pt>
                <c:pt idx="1208">
                  <c:v>2.2165689825059731E-2</c:v>
                </c:pt>
                <c:pt idx="1209">
                  <c:v>1.4815927410417928E-2</c:v>
                </c:pt>
                <c:pt idx="1210">
                  <c:v>1.8851273040492167E-2</c:v>
                </c:pt>
                <c:pt idx="1211">
                  <c:v>3.2065860822889314E-2</c:v>
                </c:pt>
                <c:pt idx="1212">
                  <c:v>4.0152956502677362E-2</c:v>
                </c:pt>
                <c:pt idx="1213">
                  <c:v>3.7861098959034001E-2</c:v>
                </c:pt>
                <c:pt idx="1214">
                  <c:v>3.5951713753290093E-2</c:v>
                </c:pt>
                <c:pt idx="1215">
                  <c:v>2.7427657093930469E-2</c:v>
                </c:pt>
                <c:pt idx="1216">
                  <c:v>1.9540893368806489E-2</c:v>
                </c:pt>
                <c:pt idx="1217">
                  <c:v>1.8275437991117527E-2</c:v>
                </c:pt>
                <c:pt idx="1218">
                  <c:v>1.3528967966929484E-2</c:v>
                </c:pt>
                <c:pt idx="1219">
                  <c:v>8.7480444939314062E-3</c:v>
                </c:pt>
                <c:pt idx="1220">
                  <c:v>6.1097025671122962E-3</c:v>
                </c:pt>
                <c:pt idx="1221">
                  <c:v>9.1721288826555059E-3</c:v>
                </c:pt>
                <c:pt idx="1222">
                  <c:v>7.5071724312824051E-3</c:v>
                </c:pt>
                <c:pt idx="1223">
                  <c:v>2.0600408365448741E-3</c:v>
                </c:pt>
                <c:pt idx="1224">
                  <c:v>-3.318305858800108E-3</c:v>
                </c:pt>
                <c:pt idx="1225">
                  <c:v>-5.1791215592744688E-4</c:v>
                </c:pt>
                <c:pt idx="1226">
                  <c:v>6.9884457130720001E-3</c:v>
                </c:pt>
                <c:pt idx="1227">
                  <c:v>-6.0516141517569233E-3</c:v>
                </c:pt>
                <c:pt idx="1228">
                  <c:v>-1.6569128773014086E-2</c:v>
                </c:pt>
                <c:pt idx="1229">
                  <c:v>-1.5295609721809655E-2</c:v>
                </c:pt>
                <c:pt idx="1230">
                  <c:v>-1.264455089378036E-2</c:v>
                </c:pt>
                <c:pt idx="1231">
                  <c:v>-2.1901332020424658E-2</c:v>
                </c:pt>
                <c:pt idx="1232">
                  <c:v>-2.9357823527825677E-2</c:v>
                </c:pt>
                <c:pt idx="1233">
                  <c:v>-1.4929478864302292E-2</c:v>
                </c:pt>
                <c:pt idx="1234">
                  <c:v>-2.1694216326529236E-2</c:v>
                </c:pt>
                <c:pt idx="1235">
                  <c:v>1.8599058422207326E-2</c:v>
                </c:pt>
                <c:pt idx="1236">
                  <c:v>7.6306842822550069E-2</c:v>
                </c:pt>
                <c:pt idx="1237">
                  <c:v>3.1222380870159827E-2</c:v>
                </c:pt>
                <c:pt idx="1238">
                  <c:v>6.861482816695319E-2</c:v>
                </c:pt>
                <c:pt idx="1239">
                  <c:v>6.9162919145395962E-2</c:v>
                </c:pt>
                <c:pt idx="1240">
                  <c:v>8.176458394533026E-2</c:v>
                </c:pt>
                <c:pt idx="1241">
                  <c:v>7.4316292279149376E-2</c:v>
                </c:pt>
                <c:pt idx="1242">
                  <c:v>4.7892987212388105E-2</c:v>
                </c:pt>
                <c:pt idx="1243">
                  <c:v>-2.4238385473354107E-3</c:v>
                </c:pt>
                <c:pt idx="1244">
                  <c:v>4.2782204979916805E-2</c:v>
                </c:pt>
                <c:pt idx="1245">
                  <c:v>2.460285280834873E-2</c:v>
                </c:pt>
                <c:pt idx="1246">
                  <c:v>1.8174561070152917E-2</c:v>
                </c:pt>
                <c:pt idx="1247">
                  <c:v>3.1120252474602261E-2</c:v>
                </c:pt>
                <c:pt idx="1248">
                  <c:v>9.3537508732514096E-3</c:v>
                </c:pt>
                <c:pt idx="1249">
                  <c:v>-1.0628613078900173E-3</c:v>
                </c:pt>
                <c:pt idx="1250">
                  <c:v>4.6039868136000806E-3</c:v>
                </c:pt>
                <c:pt idx="1251">
                  <c:v>-2.5639762138682354E-2</c:v>
                </c:pt>
                <c:pt idx="1252">
                  <c:v>-2.6360390771028697E-2</c:v>
                </c:pt>
                <c:pt idx="1253">
                  <c:v>-1.6750084322637471E-2</c:v>
                </c:pt>
                <c:pt idx="1254">
                  <c:v>-4.1039178699779466E-2</c:v>
                </c:pt>
                <c:pt idx="1255">
                  <c:v>-3.7064179092037297E-2</c:v>
                </c:pt>
                <c:pt idx="1256">
                  <c:v>-3.6074044758974355E-2</c:v>
                </c:pt>
                <c:pt idx="1257">
                  <c:v>-4.8904235113888972E-2</c:v>
                </c:pt>
                <c:pt idx="1258">
                  <c:v>-4.7061179009735277E-2</c:v>
                </c:pt>
                <c:pt idx="1259">
                  <c:v>-2.7965516064108797E-2</c:v>
                </c:pt>
                <c:pt idx="1260">
                  <c:v>-3.2095359046440564E-2</c:v>
                </c:pt>
                <c:pt idx="1261">
                  <c:v>-2.7950626872743745E-2</c:v>
                </c:pt>
                <c:pt idx="1262">
                  <c:v>1.9264958482105854E-3</c:v>
                </c:pt>
                <c:pt idx="1263">
                  <c:v>-1.0168918945057337E-2</c:v>
                </c:pt>
                <c:pt idx="1264">
                  <c:v>2.1909741877618183E-3</c:v>
                </c:pt>
                <c:pt idx="1265">
                  <c:v>1.6572540862499929E-2</c:v>
                </c:pt>
                <c:pt idx="1266">
                  <c:v>4.2752475087348918E-2</c:v>
                </c:pt>
                <c:pt idx="1267">
                  <c:v>8.702031314824421E-2</c:v>
                </c:pt>
                <c:pt idx="1268">
                  <c:v>8.0946555181303337E-2</c:v>
                </c:pt>
                <c:pt idx="1269">
                  <c:v>7.2780186735677321E-2</c:v>
                </c:pt>
                <c:pt idx="1270">
                  <c:v>0.10670789017578819</c:v>
                </c:pt>
                <c:pt idx="1271">
                  <c:v>7.9292347069751079E-2</c:v>
                </c:pt>
                <c:pt idx="1272">
                  <c:v>5.3124003379884877E-2</c:v>
                </c:pt>
                <c:pt idx="1273">
                  <c:v>2.5047146429741707E-2</c:v>
                </c:pt>
                <c:pt idx="1274">
                  <c:v>1.0482289052089588E-2</c:v>
                </c:pt>
                <c:pt idx="1275">
                  <c:v>1.1095186832696835E-2</c:v>
                </c:pt>
                <c:pt idx="1276">
                  <c:v>-6.4976377923152362E-2</c:v>
                </c:pt>
                <c:pt idx="1277">
                  <c:v>-1.6362999670891831E-2</c:v>
                </c:pt>
                <c:pt idx="1278">
                  <c:v>-2.4553605787855037E-2</c:v>
                </c:pt>
                <c:pt idx="1279">
                  <c:v>8.0145709062471315E-3</c:v>
                </c:pt>
                <c:pt idx="1280">
                  <c:v>4.8824546392445933E-2</c:v>
                </c:pt>
                <c:pt idx="1281">
                  <c:v>8.1818024312018123E-2</c:v>
                </c:pt>
                <c:pt idx="1282">
                  <c:v>8.5114419870734648E-2</c:v>
                </c:pt>
                <c:pt idx="1283">
                  <c:v>7.2890379471507449E-2</c:v>
                </c:pt>
                <c:pt idx="1284">
                  <c:v>9.5877662879860659E-2</c:v>
                </c:pt>
                <c:pt idx="1285">
                  <c:v>0.11045821733023686</c:v>
                </c:pt>
                <c:pt idx="1286">
                  <c:v>0.10797773603664518</c:v>
                </c:pt>
                <c:pt idx="1287">
                  <c:v>0.12601372052442572</c:v>
                </c:pt>
                <c:pt idx="1288">
                  <c:v>0.14487795055208208</c:v>
                </c:pt>
                <c:pt idx="1289">
                  <c:v>0.1238904456748724</c:v>
                </c:pt>
                <c:pt idx="1290">
                  <c:v>0.12657786956612749</c:v>
                </c:pt>
                <c:pt idx="1291">
                  <c:v>0.13720060800684852</c:v>
                </c:pt>
                <c:pt idx="1292">
                  <c:v>0.14589001251735656</c:v>
                </c:pt>
                <c:pt idx="1293">
                  <c:v>0.13819254265689307</c:v>
                </c:pt>
                <c:pt idx="1294">
                  <c:v>0.12923369081957781</c:v>
                </c:pt>
                <c:pt idx="1295">
                  <c:v>0.13463533395196092</c:v>
                </c:pt>
                <c:pt idx="1296">
                  <c:v>0.16484511293893434</c:v>
                </c:pt>
                <c:pt idx="1297">
                  <c:v>0.14403175741925378</c:v>
                </c:pt>
                <c:pt idx="1298">
                  <c:v>0.16370708502455078</c:v>
                </c:pt>
                <c:pt idx="1299">
                  <c:v>0.15079579741264415</c:v>
                </c:pt>
                <c:pt idx="1300">
                  <c:v>8.5110017079826239E-2</c:v>
                </c:pt>
                <c:pt idx="1301">
                  <c:v>7.780556292657137E-2</c:v>
                </c:pt>
                <c:pt idx="1302">
                  <c:v>0.10956808618942382</c:v>
                </c:pt>
                <c:pt idx="1303">
                  <c:v>6.9943724748085412E-2</c:v>
                </c:pt>
                <c:pt idx="1304">
                  <c:v>7.0028719036772547E-2</c:v>
                </c:pt>
                <c:pt idx="1305">
                  <c:v>-2.1300641981192081E-2</c:v>
                </c:pt>
                <c:pt idx="1306">
                  <c:v>-1.8390822274267582E-2</c:v>
                </c:pt>
                <c:pt idx="1307">
                  <c:v>-2.1044153974741353E-2</c:v>
                </c:pt>
                <c:pt idx="1308">
                  <c:v>-2.4804097247611123E-2</c:v>
                </c:pt>
                <c:pt idx="1309">
                  <c:v>-2.9035050220529657E-2</c:v>
                </c:pt>
                <c:pt idx="1310">
                  <c:v>-1.5702085591615345E-2</c:v>
                </c:pt>
                <c:pt idx="1311">
                  <c:v>-1.9670174968618337E-2</c:v>
                </c:pt>
                <c:pt idx="1312">
                  <c:v>-3.6057551647711295E-3</c:v>
                </c:pt>
                <c:pt idx="1313">
                  <c:v>4.6768139360975347E-4</c:v>
                </c:pt>
                <c:pt idx="1314">
                  <c:v>2.1640246351020131E-3</c:v>
                </c:pt>
                <c:pt idx="1315">
                  <c:v>1.2608517216445292E-2</c:v>
                </c:pt>
                <c:pt idx="1316">
                  <c:v>1.4159512086248216E-2</c:v>
                </c:pt>
                <c:pt idx="1317">
                  <c:v>2.0510051255206441E-2</c:v>
                </c:pt>
                <c:pt idx="1318">
                  <c:v>1.8278727764858616E-2</c:v>
                </c:pt>
                <c:pt idx="1319">
                  <c:v>2.3470129081749613E-2</c:v>
                </c:pt>
                <c:pt idx="1320">
                  <c:v>2.2384363104676952E-2</c:v>
                </c:pt>
                <c:pt idx="1321">
                  <c:v>1.9970739508265445E-2</c:v>
                </c:pt>
                <c:pt idx="1322">
                  <c:v>2.1784311088341113E-2</c:v>
                </c:pt>
                <c:pt idx="1323">
                  <c:v>1.9397039634343471E-2</c:v>
                </c:pt>
                <c:pt idx="1324">
                  <c:v>2.2827996025700736E-2</c:v>
                </c:pt>
                <c:pt idx="1325">
                  <c:v>3.1464135393662551E-2</c:v>
                </c:pt>
                <c:pt idx="1326">
                  <c:v>3.0742510392603228E-2</c:v>
                </c:pt>
                <c:pt idx="1327">
                  <c:v>3.2217142558869094E-2</c:v>
                </c:pt>
                <c:pt idx="1328">
                  <c:v>4.0987733439770357E-2</c:v>
                </c:pt>
                <c:pt idx="1329">
                  <c:v>3.2319524084506335E-2</c:v>
                </c:pt>
                <c:pt idx="1330">
                  <c:v>3.4338315491586058E-2</c:v>
                </c:pt>
                <c:pt idx="1331">
                  <c:v>2.8848827860231796E-2</c:v>
                </c:pt>
                <c:pt idx="1332">
                  <c:v>2.6947692794990985E-2</c:v>
                </c:pt>
                <c:pt idx="1333">
                  <c:v>2.5288552504990847E-2</c:v>
                </c:pt>
                <c:pt idx="1334">
                  <c:v>2.4442291118359827E-2</c:v>
                </c:pt>
                <c:pt idx="1335">
                  <c:v>1.8613361761794844E-2</c:v>
                </c:pt>
                <c:pt idx="1336">
                  <c:v>1.6131165747784171E-2</c:v>
                </c:pt>
                <c:pt idx="1337">
                  <c:v>1.6730117066568573E-2</c:v>
                </c:pt>
                <c:pt idx="1338">
                  <c:v>1.5730981989645842E-2</c:v>
                </c:pt>
                <c:pt idx="1339">
                  <c:v>2.563542884325587E-2</c:v>
                </c:pt>
                <c:pt idx="1340">
                  <c:v>1.9786665209271304E-2</c:v>
                </c:pt>
                <c:pt idx="1341">
                  <c:v>2.0926739129391692E-2</c:v>
                </c:pt>
                <c:pt idx="1342">
                  <c:v>1.5687786707451523E-2</c:v>
                </c:pt>
                <c:pt idx="1343">
                  <c:v>2.158605917109635E-2</c:v>
                </c:pt>
                <c:pt idx="1344">
                  <c:v>2.7615603359168794E-2</c:v>
                </c:pt>
                <c:pt idx="1345">
                  <c:v>1.7784800505632026E-2</c:v>
                </c:pt>
                <c:pt idx="1346">
                  <c:v>1.567205536245786E-2</c:v>
                </c:pt>
                <c:pt idx="1347">
                  <c:v>8.0049953263154894E-3</c:v>
                </c:pt>
                <c:pt idx="1348">
                  <c:v>6.8956936890678389E-3</c:v>
                </c:pt>
                <c:pt idx="1349">
                  <c:v>3.8540927348650333E-3</c:v>
                </c:pt>
                <c:pt idx="1350">
                  <c:v>6.5362149256530389E-3</c:v>
                </c:pt>
                <c:pt idx="1351">
                  <c:v>7.3066431115564878E-4</c:v>
                </c:pt>
                <c:pt idx="1352">
                  <c:v>7.4893884271145517E-3</c:v>
                </c:pt>
                <c:pt idx="1353">
                  <c:v>7.7088755061379688E-3</c:v>
                </c:pt>
                <c:pt idx="1354">
                  <c:v>1.0028805428161425E-2</c:v>
                </c:pt>
                <c:pt idx="1355">
                  <c:v>3.59251052898657E-3</c:v>
                </c:pt>
                <c:pt idx="1356">
                  <c:v>-1.5743606184178693E-3</c:v>
                </c:pt>
                <c:pt idx="1357">
                  <c:v>-5.1836685990059861E-3</c:v>
                </c:pt>
                <c:pt idx="1358">
                  <c:v>-4.7300760841818557E-3</c:v>
                </c:pt>
                <c:pt idx="1359">
                  <c:v>-3.2004624415142846E-3</c:v>
                </c:pt>
                <c:pt idx="1360">
                  <c:v>-1.3634209375083417E-2</c:v>
                </c:pt>
                <c:pt idx="1361">
                  <c:v>-5.4792019953603388E-3</c:v>
                </c:pt>
                <c:pt idx="1362">
                  <c:v>3.4050826010023627E-4</c:v>
                </c:pt>
                <c:pt idx="1363">
                  <c:v>3.962530250496421E-3</c:v>
                </c:pt>
                <c:pt idx="1364">
                  <c:v>1.0329326646232762E-2</c:v>
                </c:pt>
                <c:pt idx="1365">
                  <c:v>1.9687653516144876E-2</c:v>
                </c:pt>
                <c:pt idx="1366">
                  <c:v>1.6899462469203708E-2</c:v>
                </c:pt>
                <c:pt idx="1367">
                  <c:v>2.8673884461815069E-3</c:v>
                </c:pt>
                <c:pt idx="1368">
                  <c:v>1.5719433403101335E-2</c:v>
                </c:pt>
                <c:pt idx="1369">
                  <c:v>8.0653217224896379E-3</c:v>
                </c:pt>
                <c:pt idx="1370">
                  <c:v>1.431820249730531E-2</c:v>
                </c:pt>
                <c:pt idx="1371">
                  <c:v>6.9093433988129949E-3</c:v>
                </c:pt>
                <c:pt idx="1372">
                  <c:v>6.3755342219100619E-3</c:v>
                </c:pt>
                <c:pt idx="1373">
                  <c:v>1.4284492828571249E-3</c:v>
                </c:pt>
                <c:pt idx="1374">
                  <c:v>4.9660391811205962E-3</c:v>
                </c:pt>
                <c:pt idx="1375">
                  <c:v>1.4888667020128588E-2</c:v>
                </c:pt>
                <c:pt idx="1376">
                  <c:v>1.7612309409419047E-2</c:v>
                </c:pt>
                <c:pt idx="1377">
                  <c:v>2.0902071291643454E-2</c:v>
                </c:pt>
                <c:pt idx="1378">
                  <c:v>2.4123505233625608E-2</c:v>
                </c:pt>
                <c:pt idx="1379">
                  <c:v>2.7198788001282725E-2</c:v>
                </c:pt>
                <c:pt idx="1380">
                  <c:v>2.3158605899396445E-2</c:v>
                </c:pt>
                <c:pt idx="1381">
                  <c:v>2.4549103150560247E-2</c:v>
                </c:pt>
                <c:pt idx="1382">
                  <c:v>2.158890551396897E-2</c:v>
                </c:pt>
                <c:pt idx="1383">
                  <c:v>1.9274348726815327E-2</c:v>
                </c:pt>
                <c:pt idx="1384">
                  <c:v>6.0481057905945601E-3</c:v>
                </c:pt>
                <c:pt idx="1385">
                  <c:v>9.4941885640293933E-3</c:v>
                </c:pt>
                <c:pt idx="1386">
                  <c:v>1.6002124293402642E-2</c:v>
                </c:pt>
                <c:pt idx="1387">
                  <c:v>1.5302275661742248E-2</c:v>
                </c:pt>
                <c:pt idx="1388">
                  <c:v>1.7223314700163805E-2</c:v>
                </c:pt>
                <c:pt idx="1389">
                  <c:v>2.4291449652824149E-2</c:v>
                </c:pt>
                <c:pt idx="1390">
                  <c:v>3.7370129895680115E-2</c:v>
                </c:pt>
                <c:pt idx="1391">
                  <c:v>2.7208997222855191E-2</c:v>
                </c:pt>
                <c:pt idx="1392">
                  <c:v>1.8321711129466567E-2</c:v>
                </c:pt>
                <c:pt idx="1393">
                  <c:v>1.5957596867892221E-2</c:v>
                </c:pt>
                <c:pt idx="1394">
                  <c:v>1.3142037569645493E-2</c:v>
                </c:pt>
                <c:pt idx="1395">
                  <c:v>5.0645071305511769E-3</c:v>
                </c:pt>
                <c:pt idx="1396">
                  <c:v>2.0893616808671522E-3</c:v>
                </c:pt>
                <c:pt idx="1397">
                  <c:v>9.9988781679757333E-3</c:v>
                </c:pt>
                <c:pt idx="1398">
                  <c:v>5.1625397166897846E-3</c:v>
                </c:pt>
                <c:pt idx="1399">
                  <c:v>1.0740854961341806E-2</c:v>
                </c:pt>
                <c:pt idx="1400">
                  <c:v>-2.5784447667938082E-3</c:v>
                </c:pt>
                <c:pt idx="1401">
                  <c:v>-4.1589928897125539E-3</c:v>
                </c:pt>
                <c:pt idx="1402">
                  <c:v>-1.0985438554431681E-3</c:v>
                </c:pt>
                <c:pt idx="1403">
                  <c:v>-1.1647439230051404E-3</c:v>
                </c:pt>
                <c:pt idx="1404">
                  <c:v>-6.2330660063764087E-3</c:v>
                </c:pt>
                <c:pt idx="1405">
                  <c:v>-1.2358655299375854E-2</c:v>
                </c:pt>
                <c:pt idx="1406">
                  <c:v>-2.6412211409575836E-2</c:v>
                </c:pt>
                <c:pt idx="1407">
                  <c:v>-2.6686763599179875E-2</c:v>
                </c:pt>
                <c:pt idx="1408">
                  <c:v>-2.4321717016301481E-2</c:v>
                </c:pt>
                <c:pt idx="1409">
                  <c:v>-3.8944639023552496E-2</c:v>
                </c:pt>
                <c:pt idx="1410">
                  <c:v>-3.9995709915171429E-2</c:v>
                </c:pt>
                <c:pt idx="1411">
                  <c:v>-5.5806629524659424E-2</c:v>
                </c:pt>
                <c:pt idx="1412">
                  <c:v>-5.8333820465949149E-2</c:v>
                </c:pt>
                <c:pt idx="1413">
                  <c:v>-6.4605772004920681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182E-2</c:v>
                </c:pt>
                <c:pt idx="1424">
                  <c:v>-2.4124857289537838E-2</c:v>
                </c:pt>
                <c:pt idx="1425">
                  <c:v>-5.755449088123088E-3</c:v>
                </c:pt>
                <c:pt idx="1426">
                  <c:v>-1.2150580278206147E-2</c:v>
                </c:pt>
                <c:pt idx="1427">
                  <c:v>-9.8153721498787094E-3</c:v>
                </c:pt>
                <c:pt idx="1428">
                  <c:v>-6.8833848076121917E-3</c:v>
                </c:pt>
                <c:pt idx="1429">
                  <c:v>-3.9542157487287843E-3</c:v>
                </c:pt>
                <c:pt idx="1430">
                  <c:v>1.1255604322310986E-2</c:v>
                </c:pt>
                <c:pt idx="1431">
                  <c:v>1.6804020813664167E-2</c:v>
                </c:pt>
                <c:pt idx="1432">
                  <c:v>1.4646447436230781E-2</c:v>
                </c:pt>
                <c:pt idx="1433">
                  <c:v>1.3322072088531089E-2</c:v>
                </c:pt>
                <c:pt idx="1434">
                  <c:v>1.914002418350802E-2</c:v>
                </c:pt>
                <c:pt idx="1435">
                  <c:v>1.3092324372286801E-2</c:v>
                </c:pt>
                <c:pt idx="1436">
                  <c:v>1.5161204057613786E-2</c:v>
                </c:pt>
                <c:pt idx="1437">
                  <c:v>1.0356057182013267E-2</c:v>
                </c:pt>
                <c:pt idx="1438">
                  <c:v>7.5965749748981848E-3</c:v>
                </c:pt>
                <c:pt idx="1439">
                  <c:v>1.2493032744454458E-2</c:v>
                </c:pt>
                <c:pt idx="1440">
                  <c:v>1.6638371359634307E-2</c:v>
                </c:pt>
                <c:pt idx="1441">
                  <c:v>1.8392136719949326E-2</c:v>
                </c:pt>
                <c:pt idx="1442">
                  <c:v>1.570475368449753E-2</c:v>
                </c:pt>
                <c:pt idx="1443">
                  <c:v>1.8915598860474669E-2</c:v>
                </c:pt>
                <c:pt idx="1444">
                  <c:v>2.1339587773377744E-2</c:v>
                </c:pt>
                <c:pt idx="1445">
                  <c:v>2.0025741789890361E-2</c:v>
                </c:pt>
                <c:pt idx="1446">
                  <c:v>2.4397219503620948E-2</c:v>
                </c:pt>
                <c:pt idx="1447">
                  <c:v>2.446955143006313E-2</c:v>
                </c:pt>
                <c:pt idx="1448">
                  <c:v>1.9494078190790853E-2</c:v>
                </c:pt>
                <c:pt idx="1449">
                  <c:v>1.7034822944926087E-2</c:v>
                </c:pt>
                <c:pt idx="1450">
                  <c:v>1.7622282047784821E-2</c:v>
                </c:pt>
                <c:pt idx="1451">
                  <c:v>1.6656931468856495E-2</c:v>
                </c:pt>
                <c:pt idx="1452">
                  <c:v>1.6501189408539618E-2</c:v>
                </c:pt>
                <c:pt idx="1453">
                  <c:v>1.655382682745854E-2</c:v>
                </c:pt>
                <c:pt idx="1454">
                  <c:v>-3.4566420253919761E-3</c:v>
                </c:pt>
                <c:pt idx="1455">
                  <c:v>-1.5636272431226672E-2</c:v>
                </c:pt>
                <c:pt idx="1456">
                  <c:v>-5.7774704472652871E-3</c:v>
                </c:pt>
                <c:pt idx="1457">
                  <c:v>-2.124145056960014E-3</c:v>
                </c:pt>
                <c:pt idx="1458">
                  <c:v>-5.3119830145371694E-3</c:v>
                </c:pt>
                <c:pt idx="1459">
                  <c:v>-5.8731790665057515E-3</c:v>
                </c:pt>
                <c:pt idx="1460">
                  <c:v>-1.7860557025482171E-2</c:v>
                </c:pt>
                <c:pt idx="1461">
                  <c:v>-1.3046936551071031E-2</c:v>
                </c:pt>
                <c:pt idx="1462">
                  <c:v>-1.2822023847004704E-2</c:v>
                </c:pt>
                <c:pt idx="1463">
                  <c:v>-1.6301140953810522E-2</c:v>
                </c:pt>
                <c:pt idx="1464">
                  <c:v>-1.1059590142277531E-2</c:v>
                </c:pt>
                <c:pt idx="1465">
                  <c:v>-6.3844178005473262E-3</c:v>
                </c:pt>
                <c:pt idx="1466">
                  <c:v>-6.9115764789732248E-3</c:v>
                </c:pt>
                <c:pt idx="1467">
                  <c:v>1.4631873910663229E-3</c:v>
                </c:pt>
                <c:pt idx="1468">
                  <c:v>2.3114509482848877E-3</c:v>
                </c:pt>
                <c:pt idx="1469">
                  <c:v>2.3257519591767251E-3</c:v>
                </c:pt>
                <c:pt idx="1470">
                  <c:v>2.5185127044460298E-3</c:v>
                </c:pt>
                <c:pt idx="1471">
                  <c:v>6.8747768450796443E-3</c:v>
                </c:pt>
                <c:pt idx="1472">
                  <c:v>6.7631159517861361E-3</c:v>
                </c:pt>
                <c:pt idx="1473">
                  <c:v>1.1731898789108297E-2</c:v>
                </c:pt>
                <c:pt idx="1474">
                  <c:v>3.7070792636939576E-3</c:v>
                </c:pt>
                <c:pt idx="1475">
                  <c:v>9.4718959033717187E-3</c:v>
                </c:pt>
                <c:pt idx="1476">
                  <c:v>9.8139265405616793E-3</c:v>
                </c:pt>
                <c:pt idx="1477">
                  <c:v>3.7297679801850947E-3</c:v>
                </c:pt>
                <c:pt idx="1478">
                  <c:v>7.8197016067491631E-3</c:v>
                </c:pt>
                <c:pt idx="1479">
                  <c:v>-2.1238790509783279E-3</c:v>
                </c:pt>
                <c:pt idx="1480">
                  <c:v>-7.9569803525846305E-3</c:v>
                </c:pt>
                <c:pt idx="1481">
                  <c:v>-8.8931836968297873E-4</c:v>
                </c:pt>
                <c:pt idx="1482">
                  <c:v>-1.0542152081071898E-2</c:v>
                </c:pt>
                <c:pt idx="1483">
                  <c:v>-1.3494614454164666E-2</c:v>
                </c:pt>
                <c:pt idx="1484">
                  <c:v>-1.7721549690835614E-3</c:v>
                </c:pt>
                <c:pt idx="1485">
                  <c:v>6.0378791298927315E-3</c:v>
                </c:pt>
                <c:pt idx="1486">
                  <c:v>1.8699185450970934E-2</c:v>
                </c:pt>
                <c:pt idx="1487">
                  <c:v>1.5612030890304829E-2</c:v>
                </c:pt>
                <c:pt idx="1488">
                  <c:v>1.76123230190256E-2</c:v>
                </c:pt>
                <c:pt idx="1489">
                  <c:v>1.6244435662925771E-2</c:v>
                </c:pt>
                <c:pt idx="1490">
                  <c:v>1.5457821106280911E-2</c:v>
                </c:pt>
                <c:pt idx="1491">
                  <c:v>8.3230843550079481E-3</c:v>
                </c:pt>
                <c:pt idx="1492">
                  <c:v>1.4830795898868043E-3</c:v>
                </c:pt>
                <c:pt idx="1493">
                  <c:v>-4.7742263626239234E-3</c:v>
                </c:pt>
                <c:pt idx="1494">
                  <c:v>-6.173324517010359E-3</c:v>
                </c:pt>
                <c:pt idx="1495">
                  <c:v>-5.9841767332522444E-3</c:v>
                </c:pt>
                <c:pt idx="1496">
                  <c:v>-5.0712996891948414E-3</c:v>
                </c:pt>
                <c:pt idx="1497">
                  <c:v>-1.9053972646591033E-3</c:v>
                </c:pt>
                <c:pt idx="1498">
                  <c:v>-2.3027403576213468E-3</c:v>
                </c:pt>
                <c:pt idx="1499">
                  <c:v>3.9802114881217765E-3</c:v>
                </c:pt>
                <c:pt idx="1500">
                  <c:v>-6.5145491364684283E-3</c:v>
                </c:pt>
                <c:pt idx="1501">
                  <c:v>4.8655999254066939E-3</c:v>
                </c:pt>
                <c:pt idx="1502">
                  <c:v>3.0912033731756994E-3</c:v>
                </c:pt>
                <c:pt idx="1503">
                  <c:v>-1.0488358291778188E-2</c:v>
                </c:pt>
                <c:pt idx="1504">
                  <c:v>-2.0262523816664268E-3</c:v>
                </c:pt>
                <c:pt idx="1505">
                  <c:v>-7.0055351467424032E-3</c:v>
                </c:pt>
                <c:pt idx="1506">
                  <c:v>-2.4108426869807742E-3</c:v>
                </c:pt>
                <c:pt idx="1507">
                  <c:v>1.4565713486632381E-2</c:v>
                </c:pt>
                <c:pt idx="1508">
                  <c:v>1.517178361772753E-2</c:v>
                </c:pt>
                <c:pt idx="1509">
                  <c:v>9.8879079891570631E-3</c:v>
                </c:pt>
                <c:pt idx="1510">
                  <c:v>7.1792968697812487E-3</c:v>
                </c:pt>
                <c:pt idx="1511">
                  <c:v>1.3230333756503843E-2</c:v>
                </c:pt>
                <c:pt idx="1512">
                  <c:v>1.4755920213590401E-2</c:v>
                </c:pt>
                <c:pt idx="1513">
                  <c:v>7.6769364827310449E-3</c:v>
                </c:pt>
                <c:pt idx="1514">
                  <c:v>1.404875152042806E-2</c:v>
                </c:pt>
                <c:pt idx="1515">
                  <c:v>1.0170591197488643E-2</c:v>
                </c:pt>
                <c:pt idx="1516">
                  <c:v>-7.2838697258859053E-4</c:v>
                </c:pt>
                <c:pt idx="1517">
                  <c:v>2.9256368830531398E-3</c:v>
                </c:pt>
                <c:pt idx="1518">
                  <c:v>1.172656829857488E-2</c:v>
                </c:pt>
                <c:pt idx="1519">
                  <c:v>1.4417140791362915E-2</c:v>
                </c:pt>
                <c:pt idx="1520">
                  <c:v>3.9297066718073648E-3</c:v>
                </c:pt>
                <c:pt idx="1521">
                  <c:v>1.0397444307031822E-2</c:v>
                </c:pt>
                <c:pt idx="1522">
                  <c:v>5.4464822194869589E-3</c:v>
                </c:pt>
                <c:pt idx="1523">
                  <c:v>1.0642633657622635E-2</c:v>
                </c:pt>
                <c:pt idx="1524">
                  <c:v>5.740140418714845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1242E-3</c:v>
                </c:pt>
                <c:pt idx="1535">
                  <c:v>9.6035021262340647E-3</c:v>
                </c:pt>
                <c:pt idx="1536">
                  <c:v>6.3239191737965994E-3</c:v>
                </c:pt>
                <c:pt idx="1537">
                  <c:v>7.631963614132542E-3</c:v>
                </c:pt>
                <c:pt idx="1538">
                  <c:v>1.1590084462893557E-2</c:v>
                </c:pt>
                <c:pt idx="1539">
                  <c:v>1.1034688344126464E-2</c:v>
                </c:pt>
                <c:pt idx="1540">
                  <c:v>1.1494993806450582E-2</c:v>
                </c:pt>
                <c:pt idx="1541">
                  <c:v>1.1840910978045849E-2</c:v>
                </c:pt>
                <c:pt idx="1542">
                  <c:v>7.7986307624049456E-3</c:v>
                </c:pt>
                <c:pt idx="1543">
                  <c:v>8.6593791610439785E-3</c:v>
                </c:pt>
                <c:pt idx="1544">
                  <c:v>-1.3180105522080376E-3</c:v>
                </c:pt>
                <c:pt idx="1545">
                  <c:v>1.2089559578845055E-3</c:v>
                </c:pt>
                <c:pt idx="1546">
                  <c:v>-9.3978916861207074E-3</c:v>
                </c:pt>
                <c:pt idx="1547">
                  <c:v>-1.4521378428333676E-2</c:v>
                </c:pt>
                <c:pt idx="1548">
                  <c:v>-1.5584711938449125E-2</c:v>
                </c:pt>
                <c:pt idx="1549">
                  <c:v>-2.5681404296104104E-2</c:v>
                </c:pt>
                <c:pt idx="1550">
                  <c:v>-2.0514686695315976E-2</c:v>
                </c:pt>
                <c:pt idx="1551">
                  <c:v>-1.8524107374486065E-2</c:v>
                </c:pt>
                <c:pt idx="1552">
                  <c:v>-1.0073870461085987E-2</c:v>
                </c:pt>
                <c:pt idx="1553">
                  <c:v>-8.9902973676043718E-3</c:v>
                </c:pt>
                <c:pt idx="1554">
                  <c:v>-1.1993974039603006E-2</c:v>
                </c:pt>
                <c:pt idx="1555">
                  <c:v>-1.1847538923686507E-2</c:v>
                </c:pt>
                <c:pt idx="1556">
                  <c:v>-7.5445862208917136E-3</c:v>
                </c:pt>
                <c:pt idx="1557">
                  <c:v>-2.1988975275979428E-3</c:v>
                </c:pt>
                <c:pt idx="1558">
                  <c:v>-2.4036113167800188E-3</c:v>
                </c:pt>
                <c:pt idx="1559">
                  <c:v>-2.643770830772052E-3</c:v>
                </c:pt>
                <c:pt idx="1560">
                  <c:v>-2.9948446529236561E-3</c:v>
                </c:pt>
                <c:pt idx="1561">
                  <c:v>1.1183939197726311E-2</c:v>
                </c:pt>
                <c:pt idx="1562">
                  <c:v>2.1150902077370359E-3</c:v>
                </c:pt>
                <c:pt idx="1563">
                  <c:v>2.324430064672911E-2</c:v>
                </c:pt>
                <c:pt idx="1564">
                  <c:v>2.3557817465727826E-2</c:v>
                </c:pt>
                <c:pt idx="1565">
                  <c:v>1.9266356591082778E-2</c:v>
                </c:pt>
                <c:pt idx="1566">
                  <c:v>9.3527849947999675E-3</c:v>
                </c:pt>
                <c:pt idx="1567">
                  <c:v>8.1311165163033827E-3</c:v>
                </c:pt>
                <c:pt idx="1568">
                  <c:v>6.1752931107558195E-3</c:v>
                </c:pt>
                <c:pt idx="1569">
                  <c:v>3.9079578860911068E-3</c:v>
                </c:pt>
                <c:pt idx="1570">
                  <c:v>4.0525615569414475E-3</c:v>
                </c:pt>
                <c:pt idx="1571">
                  <c:v>1.2466913300578808E-2</c:v>
                </c:pt>
                <c:pt idx="1572">
                  <c:v>1.1379108779891345E-2</c:v>
                </c:pt>
                <c:pt idx="1573">
                  <c:v>1.2130111519116138E-2</c:v>
                </c:pt>
                <c:pt idx="1574">
                  <c:v>6.0203762671890981E-3</c:v>
                </c:pt>
                <c:pt idx="1575">
                  <c:v>5.2779078649550781E-3</c:v>
                </c:pt>
                <c:pt idx="1576">
                  <c:v>8.3413565916535815E-3</c:v>
                </c:pt>
                <c:pt idx="1577">
                  <c:v>8.4756156382983505E-3</c:v>
                </c:pt>
                <c:pt idx="1578">
                  <c:v>9.5963564084261543E-3</c:v>
                </c:pt>
                <c:pt idx="1579">
                  <c:v>1.2836232224112232E-2</c:v>
                </c:pt>
                <c:pt idx="1580">
                  <c:v>5.1081671316857147E-3</c:v>
                </c:pt>
                <c:pt idx="1581">
                  <c:v>2.7517357083500782E-3</c:v>
                </c:pt>
                <c:pt idx="1582">
                  <c:v>5.6197709231297077E-3</c:v>
                </c:pt>
                <c:pt idx="1583">
                  <c:v>9.3962820129545044E-3</c:v>
                </c:pt>
                <c:pt idx="1584">
                  <c:v>7.892341303097572E-3</c:v>
                </c:pt>
                <c:pt idx="1585">
                  <c:v>9.7324686133863914E-3</c:v>
                </c:pt>
                <c:pt idx="1586">
                  <c:v>1.033598875411601E-2</c:v>
                </c:pt>
                <c:pt idx="1587">
                  <c:v>1.0063353837604594E-2</c:v>
                </c:pt>
                <c:pt idx="1588">
                  <c:v>7.6553169643852614E-3</c:v>
                </c:pt>
                <c:pt idx="1589">
                  <c:v>1.4926493577023026E-2</c:v>
                </c:pt>
                <c:pt idx="1590">
                  <c:v>7.2940951649055341E-3</c:v>
                </c:pt>
                <c:pt idx="1591">
                  <c:v>6.3782239578866751E-3</c:v>
                </c:pt>
                <c:pt idx="1592">
                  <c:v>4.7523734451310196E-3</c:v>
                </c:pt>
                <c:pt idx="1593">
                  <c:v>8.2613713607655459E-3</c:v>
                </c:pt>
                <c:pt idx="1594">
                  <c:v>4.2956948879426804E-3</c:v>
                </c:pt>
                <c:pt idx="1595">
                  <c:v>1.2574125494552391E-2</c:v>
                </c:pt>
                <c:pt idx="1596">
                  <c:v>1.612750557465259E-2</c:v>
                </c:pt>
                <c:pt idx="1597">
                  <c:v>1.1488583284340659E-2</c:v>
                </c:pt>
                <c:pt idx="1598">
                  <c:v>9.4659759519843956E-4</c:v>
                </c:pt>
                <c:pt idx="1599">
                  <c:v>3.1147955260460991E-3</c:v>
                </c:pt>
                <c:pt idx="1600">
                  <c:v>7.5975628767627201E-3</c:v>
                </c:pt>
                <c:pt idx="1601">
                  <c:v>2.3536444473838403E-3</c:v>
                </c:pt>
                <c:pt idx="1602">
                  <c:v>7.3872426790740908E-3</c:v>
                </c:pt>
                <c:pt idx="1603">
                  <c:v>1.3389066757047763E-2</c:v>
                </c:pt>
                <c:pt idx="1604">
                  <c:v>8.4669360383591297E-3</c:v>
                </c:pt>
                <c:pt idx="1605">
                  <c:v>3.4522062142878784E-3</c:v>
                </c:pt>
                <c:pt idx="1606">
                  <c:v>-2.9923369604525352E-3</c:v>
                </c:pt>
                <c:pt idx="1607">
                  <c:v>8.650197610041821E-3</c:v>
                </c:pt>
                <c:pt idx="1608">
                  <c:v>3.856753303602356E-3</c:v>
                </c:pt>
                <c:pt idx="1609">
                  <c:v>4.0794350456734296E-3</c:v>
                </c:pt>
                <c:pt idx="1610">
                  <c:v>5.4574058605297848E-3</c:v>
                </c:pt>
                <c:pt idx="1611">
                  <c:v>4.6525799872406681E-3</c:v>
                </c:pt>
                <c:pt idx="1612">
                  <c:v>8.236282474539891E-3</c:v>
                </c:pt>
                <c:pt idx="1613">
                  <c:v>8.515976341305076E-3</c:v>
                </c:pt>
                <c:pt idx="1614">
                  <c:v>1.2258255096522452E-2</c:v>
                </c:pt>
                <c:pt idx="1615">
                  <c:v>8.2328746157126487E-3</c:v>
                </c:pt>
                <c:pt idx="1616">
                  <c:v>1.0390569918512838E-2</c:v>
                </c:pt>
                <c:pt idx="1617">
                  <c:v>8.6285851859735363E-3</c:v>
                </c:pt>
                <c:pt idx="1618">
                  <c:v>8.2672854930313511E-3</c:v>
                </c:pt>
                <c:pt idx="1619">
                  <c:v>7.1633104222594834E-3</c:v>
                </c:pt>
                <c:pt idx="1620">
                  <c:v>1.3649375151470577E-2</c:v>
                </c:pt>
                <c:pt idx="1621">
                  <c:v>1.1861136640528014E-2</c:v>
                </c:pt>
                <c:pt idx="1622">
                  <c:v>1.466415844197444E-2</c:v>
                </c:pt>
                <c:pt idx="1623">
                  <c:v>-4.5816942446000875E-3</c:v>
                </c:pt>
                <c:pt idx="1624">
                  <c:v>-5.5948363355341479E-3</c:v>
                </c:pt>
                <c:pt idx="1625">
                  <c:v>-1.8700558529227695E-3</c:v>
                </c:pt>
                <c:pt idx="1626">
                  <c:v>-1.7922871296495946E-2</c:v>
                </c:pt>
                <c:pt idx="1627">
                  <c:v>-1.4487135400332418E-2</c:v>
                </c:pt>
                <c:pt idx="1628">
                  <c:v>-1.0412314175402781E-2</c:v>
                </c:pt>
                <c:pt idx="1629">
                  <c:v>-8.4643954888541373E-3</c:v>
                </c:pt>
                <c:pt idx="1630">
                  <c:v>-9.2580196268781112E-3</c:v>
                </c:pt>
                <c:pt idx="1631">
                  <c:v>-6.3996331457657485E-3</c:v>
                </c:pt>
                <c:pt idx="1632">
                  <c:v>-8.6019367995060492E-3</c:v>
                </c:pt>
                <c:pt idx="1633">
                  <c:v>-1.0982317105102557E-2</c:v>
                </c:pt>
                <c:pt idx="1634">
                  <c:v>-1.1588855644600549E-2</c:v>
                </c:pt>
                <c:pt idx="1635">
                  <c:v>6.2336417605668437E-5</c:v>
                </c:pt>
                <c:pt idx="1636">
                  <c:v>-9.7754944524885978E-4</c:v>
                </c:pt>
                <c:pt idx="1637">
                  <c:v>-1.3006906869028612E-4</c:v>
                </c:pt>
                <c:pt idx="1638">
                  <c:v>-1.306589712915307E-3</c:v>
                </c:pt>
                <c:pt idx="1639">
                  <c:v>-4.8592335198037739E-3</c:v>
                </c:pt>
                <c:pt idx="1640">
                  <c:v>-9.4706566361394406E-3</c:v>
                </c:pt>
                <c:pt idx="1641">
                  <c:v>-1.840096294822724E-2</c:v>
                </c:pt>
                <c:pt idx="1642">
                  <c:v>-2.5384387746763548E-2</c:v>
                </c:pt>
                <c:pt idx="1643">
                  <c:v>-2.943977336270609E-2</c:v>
                </c:pt>
                <c:pt idx="1644">
                  <c:v>-3.5912038467655893E-2</c:v>
                </c:pt>
                <c:pt idx="1645">
                  <c:v>-5.1642498163092299E-2</c:v>
                </c:pt>
                <c:pt idx="1646">
                  <c:v>-5.4015444955337943E-2</c:v>
                </c:pt>
                <c:pt idx="1647">
                  <c:v>-6.2273219809054536E-2</c:v>
                </c:pt>
                <c:pt idx="1648">
                  <c:v>-6.1824873604041541E-2</c:v>
                </c:pt>
                <c:pt idx="1649">
                  <c:v>-6.2433548311839115E-2</c:v>
                </c:pt>
                <c:pt idx="1650">
                  <c:v>-6.5091929113817226E-2</c:v>
                </c:pt>
                <c:pt idx="1651">
                  <c:v>-7.4589089366326355E-2</c:v>
                </c:pt>
                <c:pt idx="1652">
                  <c:v>-7.958172099780203E-2</c:v>
                </c:pt>
                <c:pt idx="1653">
                  <c:v>-7.4154328368211786E-2</c:v>
                </c:pt>
                <c:pt idx="1654">
                  <c:v>-6.5470391080478585E-2</c:v>
                </c:pt>
                <c:pt idx="1655">
                  <c:v>-6.7684591221456869E-2</c:v>
                </c:pt>
                <c:pt idx="1656">
                  <c:v>-5.277809535403255E-2</c:v>
                </c:pt>
                <c:pt idx="1657">
                  <c:v>-5.2712033083706755E-2</c:v>
                </c:pt>
                <c:pt idx="1658">
                  <c:v>-4.6405597521636976E-2</c:v>
                </c:pt>
                <c:pt idx="1659">
                  <c:v>-4.7353273132268781E-2</c:v>
                </c:pt>
                <c:pt idx="1660">
                  <c:v>-4.979181863208304E-2</c:v>
                </c:pt>
                <c:pt idx="1661">
                  <c:v>-4.5684087545678542E-2</c:v>
                </c:pt>
                <c:pt idx="1662">
                  <c:v>-5.0120645546155806E-2</c:v>
                </c:pt>
                <c:pt idx="1663">
                  <c:v>-4.9802626067432576E-2</c:v>
                </c:pt>
                <c:pt idx="1664">
                  <c:v>-4.4092791389829245E-2</c:v>
                </c:pt>
                <c:pt idx="1665">
                  <c:v>-5.1254146476595319E-2</c:v>
                </c:pt>
                <c:pt idx="1666">
                  <c:v>-4.2449734075798662E-2</c:v>
                </c:pt>
                <c:pt idx="1667">
                  <c:v>-4.6130694592047994E-2</c:v>
                </c:pt>
                <c:pt idx="1668">
                  <c:v>-4.1741881697714422E-2</c:v>
                </c:pt>
                <c:pt idx="1669">
                  <c:v>-4.4142324437061897E-2</c:v>
                </c:pt>
                <c:pt idx="1670">
                  <c:v>-4.2796203341636585E-2</c:v>
                </c:pt>
                <c:pt idx="1671">
                  <c:v>-4.9470732504188764E-2</c:v>
                </c:pt>
                <c:pt idx="1672">
                  <c:v>-4.8448787330361842E-2</c:v>
                </c:pt>
                <c:pt idx="1673">
                  <c:v>-5.2418883628007507E-2</c:v>
                </c:pt>
                <c:pt idx="1674">
                  <c:v>-4.9122385428777005E-2</c:v>
                </c:pt>
                <c:pt idx="1675">
                  <c:v>-3.3955421098329053E-2</c:v>
                </c:pt>
                <c:pt idx="1676">
                  <c:v>-3.0424381377154641E-2</c:v>
                </c:pt>
                <c:pt idx="1677">
                  <c:v>-2.8680180607907557E-2</c:v>
                </c:pt>
                <c:pt idx="1678">
                  <c:v>-2.3179303257668926E-2</c:v>
                </c:pt>
                <c:pt idx="1679">
                  <c:v>-2.025566705496995E-2</c:v>
                </c:pt>
                <c:pt idx="1680">
                  <c:v>-1.8741961001622842E-2</c:v>
                </c:pt>
                <c:pt idx="1681">
                  <c:v>-1.0498618470284438E-2</c:v>
                </c:pt>
                <c:pt idx="1682">
                  <c:v>-8.2597348046096197E-3</c:v>
                </c:pt>
                <c:pt idx="1683">
                  <c:v>-5.3256835402188951E-3</c:v>
                </c:pt>
                <c:pt idx="1684">
                  <c:v>-7.6445233086424036E-3</c:v>
                </c:pt>
                <c:pt idx="1685">
                  <c:v>-1.8416750664745685E-2</c:v>
                </c:pt>
                <c:pt idx="1686">
                  <c:v>-2.4837037680852103E-2</c:v>
                </c:pt>
                <c:pt idx="1687">
                  <c:v>-2.4524258668499277E-2</c:v>
                </c:pt>
                <c:pt idx="1688">
                  <c:v>-2.6176241212623852E-2</c:v>
                </c:pt>
                <c:pt idx="1689">
                  <c:v>-3.3509087908912494E-2</c:v>
                </c:pt>
                <c:pt idx="1690">
                  <c:v>-2.8781323685957205E-2</c:v>
                </c:pt>
                <c:pt idx="1691">
                  <c:v>-2.6615351827661726E-2</c:v>
                </c:pt>
                <c:pt idx="1692">
                  <c:v>-3.4385941764276007E-2</c:v>
                </c:pt>
                <c:pt idx="1693">
                  <c:v>-3.1770444272267495E-2</c:v>
                </c:pt>
                <c:pt idx="1694">
                  <c:v>-2.7866619442009299E-2</c:v>
                </c:pt>
                <c:pt idx="1695">
                  <c:v>-2.7299616401021409E-2</c:v>
                </c:pt>
                <c:pt idx="1696">
                  <c:v>-2.4774004560068952E-2</c:v>
                </c:pt>
                <c:pt idx="1697">
                  <c:v>-2.3253114054592405E-2</c:v>
                </c:pt>
                <c:pt idx="1698">
                  <c:v>-2.3773305567648784E-2</c:v>
                </c:pt>
                <c:pt idx="1699">
                  <c:v>-2.5082533806626395E-2</c:v>
                </c:pt>
                <c:pt idx="1700">
                  <c:v>2.1082911839881091E-2</c:v>
                </c:pt>
                <c:pt idx="1701">
                  <c:v>-1.9985904510396058E-2</c:v>
                </c:pt>
                <c:pt idx="1702">
                  <c:v>-1.0287272296688021E-2</c:v>
                </c:pt>
                <c:pt idx="1703">
                  <c:v>8.6114784708911651E-3</c:v>
                </c:pt>
                <c:pt idx="1704">
                  <c:v>4.4120056418443299E-2</c:v>
                </c:pt>
                <c:pt idx="1705">
                  <c:v>2.2708155603533342E-2</c:v>
                </c:pt>
                <c:pt idx="1706">
                  <c:v>3.2327818701184174E-2</c:v>
                </c:pt>
                <c:pt idx="1707">
                  <c:v>3.2712052852048368E-2</c:v>
                </c:pt>
                <c:pt idx="1708">
                  <c:v>6.5702092926507305E-2</c:v>
                </c:pt>
                <c:pt idx="1709">
                  <c:v>7.2496886064542077E-2</c:v>
                </c:pt>
                <c:pt idx="1710">
                  <c:v>7.1036604780252532E-2</c:v>
                </c:pt>
                <c:pt idx="1711">
                  <c:v>7.1452489691093413E-2</c:v>
                </c:pt>
                <c:pt idx="1712">
                  <c:v>0.10577222078031823</c:v>
                </c:pt>
                <c:pt idx="1713">
                  <c:v>0.10715121270182115</c:v>
                </c:pt>
                <c:pt idx="1714">
                  <c:v>0.12300357689579211</c:v>
                </c:pt>
                <c:pt idx="1715">
                  <c:v>0.12885779441617129</c:v>
                </c:pt>
                <c:pt idx="1716">
                  <c:v>0.12310894778349035</c:v>
                </c:pt>
                <c:pt idx="1717">
                  <c:v>0.11967408012074265</c:v>
                </c:pt>
                <c:pt idx="1718">
                  <c:v>0.11930426541617933</c:v>
                </c:pt>
                <c:pt idx="1719">
                  <c:v>0.10069625847032981</c:v>
                </c:pt>
                <c:pt idx="1720">
                  <c:v>0.1017647309148827</c:v>
                </c:pt>
                <c:pt idx="1721">
                  <c:v>0.10057162671218245</c:v>
                </c:pt>
                <c:pt idx="1722">
                  <c:v>7.8602249614914133E-2</c:v>
                </c:pt>
                <c:pt idx="1723">
                  <c:v>0.1079956944848508</c:v>
                </c:pt>
                <c:pt idx="1724">
                  <c:v>0.10698837483505241</c:v>
                </c:pt>
                <c:pt idx="1725">
                  <c:v>0.11517233638987534</c:v>
                </c:pt>
                <c:pt idx="1726">
                  <c:v>8.4668347449681769E-2</c:v>
                </c:pt>
                <c:pt idx="1727">
                  <c:v>7.7077390486542163E-2</c:v>
                </c:pt>
                <c:pt idx="1728">
                  <c:v>7.6692812317399328E-2</c:v>
                </c:pt>
                <c:pt idx="1729">
                  <c:v>3.9602302063506345E-2</c:v>
                </c:pt>
                <c:pt idx="1730">
                  <c:v>3.2290554900421875E-2</c:v>
                </c:pt>
                <c:pt idx="1731">
                  <c:v>2.4155854321538994E-2</c:v>
                </c:pt>
                <c:pt idx="1732">
                  <c:v>2.5632296555581413E-2</c:v>
                </c:pt>
                <c:pt idx="1733">
                  <c:v>4.4705307797515692E-3</c:v>
                </c:pt>
                <c:pt idx="1734">
                  <c:v>3.5891959428962505E-2</c:v>
                </c:pt>
                <c:pt idx="1735">
                  <c:v>5.8615761933104915E-2</c:v>
                </c:pt>
                <c:pt idx="1736">
                  <c:v>4.9889543713853013E-2</c:v>
                </c:pt>
                <c:pt idx="1737">
                  <c:v>2.3737984365333809E-2</c:v>
                </c:pt>
                <c:pt idx="1738">
                  <c:v>1.3243730336962134E-2</c:v>
                </c:pt>
                <c:pt idx="1739">
                  <c:v>9.84455392094441E-3</c:v>
                </c:pt>
                <c:pt idx="1740">
                  <c:v>1.8898005234584181E-2</c:v>
                </c:pt>
                <c:pt idx="1741">
                  <c:v>7.7417399884398552E-3</c:v>
                </c:pt>
                <c:pt idx="1742">
                  <c:v>9.9722216581267231E-3</c:v>
                </c:pt>
                <c:pt idx="1743">
                  <c:v>-4.2463539022296493E-2</c:v>
                </c:pt>
                <c:pt idx="1744">
                  <c:v>-3.2613109055107392E-2</c:v>
                </c:pt>
                <c:pt idx="1745">
                  <c:v>-1.2787056599675051E-2</c:v>
                </c:pt>
                <c:pt idx="1746">
                  <c:v>-1.8168460884580018E-3</c:v>
                </c:pt>
                <c:pt idx="1747">
                  <c:v>-4.402726289724046E-3</c:v>
                </c:pt>
                <c:pt idx="1748">
                  <c:v>1.8346788456932162E-2</c:v>
                </c:pt>
                <c:pt idx="1749">
                  <c:v>2.7861784289634373E-2</c:v>
                </c:pt>
                <c:pt idx="1750">
                  <c:v>4.3860782957812816E-2</c:v>
                </c:pt>
                <c:pt idx="1751">
                  <c:v>4.4122358044462184E-2</c:v>
                </c:pt>
                <c:pt idx="1752">
                  <c:v>5.4920875173995465E-2</c:v>
                </c:pt>
                <c:pt idx="1753">
                  <c:v>5.2401737198550902E-2</c:v>
                </c:pt>
                <c:pt idx="1754">
                  <c:v>5.4427108962584736E-2</c:v>
                </c:pt>
                <c:pt idx="1755">
                  <c:v>5.3376872977611622E-2</c:v>
                </c:pt>
                <c:pt idx="1756">
                  <c:v>5.9629866257467912E-2</c:v>
                </c:pt>
                <c:pt idx="1757">
                  <c:v>3.1491222587872514E-2</c:v>
                </c:pt>
                <c:pt idx="1758">
                  <c:v>1.8596268480576605E-2</c:v>
                </c:pt>
                <c:pt idx="1759">
                  <c:v>-1.1976581373744133E-2</c:v>
                </c:pt>
                <c:pt idx="1760">
                  <c:v>6.2701654428137799E-3</c:v>
                </c:pt>
                <c:pt idx="1761">
                  <c:v>1.4344667204679973E-2</c:v>
                </c:pt>
                <c:pt idx="1762">
                  <c:v>2.376083401095741E-2</c:v>
                </c:pt>
                <c:pt idx="1763">
                  <c:v>2.2306729484900645E-2</c:v>
                </c:pt>
                <c:pt idx="1764">
                  <c:v>2.4293600931876824E-2</c:v>
                </c:pt>
                <c:pt idx="1765">
                  <c:v>1.0379477271612925E-2</c:v>
                </c:pt>
                <c:pt idx="1766">
                  <c:v>2.6703250968672654E-3</c:v>
                </c:pt>
                <c:pt idx="1767">
                  <c:v>-8.5849157970485646E-4</c:v>
                </c:pt>
                <c:pt idx="1768">
                  <c:v>-2.6576693320478073E-2</c:v>
                </c:pt>
                <c:pt idx="1769">
                  <c:v>6.1234266181384722E-3</c:v>
                </c:pt>
                <c:pt idx="1770">
                  <c:v>5.6574280046098879E-3</c:v>
                </c:pt>
                <c:pt idx="1771">
                  <c:v>3.5061078460760675E-2</c:v>
                </c:pt>
                <c:pt idx="1772">
                  <c:v>-1.1061977140211621E-2</c:v>
                </c:pt>
                <c:pt idx="1773">
                  <c:v>-1.4819802706837359E-2</c:v>
                </c:pt>
                <c:pt idx="1774">
                  <c:v>-6.8919023818004854E-3</c:v>
                </c:pt>
                <c:pt idx="1775">
                  <c:v>-1.0274620631664955E-2</c:v>
                </c:pt>
                <c:pt idx="1776">
                  <c:v>2.0748423844751951E-4</c:v>
                </c:pt>
                <c:pt idx="1777">
                  <c:v>-2.3903951777113353E-3</c:v>
                </c:pt>
                <c:pt idx="1778">
                  <c:v>-9.3995869746060778E-3</c:v>
                </c:pt>
                <c:pt idx="1779">
                  <c:v>1.3310918320350806E-2</c:v>
                </c:pt>
                <c:pt idx="1780">
                  <c:v>-5.8020985189165541E-3</c:v>
                </c:pt>
                <c:pt idx="1781">
                  <c:v>-6.7575334309272206E-3</c:v>
                </c:pt>
                <c:pt idx="1782">
                  <c:v>-1.0728571389684194E-2</c:v>
                </c:pt>
                <c:pt idx="1783">
                  <c:v>-1.9242266585033141E-2</c:v>
                </c:pt>
                <c:pt idx="1784">
                  <c:v>-9.4479502512632152E-3</c:v>
                </c:pt>
                <c:pt idx="1785">
                  <c:v>-6.1120904600079351E-3</c:v>
                </c:pt>
                <c:pt idx="1786">
                  <c:v>-5.935190054424111E-3</c:v>
                </c:pt>
                <c:pt idx="1787">
                  <c:v>5.6306924768900757E-3</c:v>
                </c:pt>
                <c:pt idx="1788">
                  <c:v>4.7056585575080412E-3</c:v>
                </c:pt>
                <c:pt idx="1789">
                  <c:v>-5.4593430297508183E-3</c:v>
                </c:pt>
                <c:pt idx="1790">
                  <c:v>1.0410471934185761E-4</c:v>
                </c:pt>
                <c:pt idx="1791">
                  <c:v>-4.5465786038723088E-4</c:v>
                </c:pt>
                <c:pt idx="1792">
                  <c:v>3.1625195188705879E-3</c:v>
                </c:pt>
                <c:pt idx="1793">
                  <c:v>1.2484019230630583E-2</c:v>
                </c:pt>
                <c:pt idx="1794">
                  <c:v>2.0093619038146882E-2</c:v>
                </c:pt>
                <c:pt idx="1795">
                  <c:v>1.7428529042861629E-2</c:v>
                </c:pt>
                <c:pt idx="1796">
                  <c:v>6.7182207765307256E-3</c:v>
                </c:pt>
                <c:pt idx="1797">
                  <c:v>1.1736340405864354E-2</c:v>
                </c:pt>
                <c:pt idx="1798">
                  <c:v>9.8933405976553423E-3</c:v>
                </c:pt>
                <c:pt idx="1799">
                  <c:v>1.3233928865193145E-2</c:v>
                </c:pt>
                <c:pt idx="1800">
                  <c:v>5.5262779107742022E-3</c:v>
                </c:pt>
                <c:pt idx="1801">
                  <c:v>3.9075605585930928E-3</c:v>
                </c:pt>
                <c:pt idx="1802">
                  <c:v>9.3147495836277683E-3</c:v>
                </c:pt>
                <c:pt idx="1803">
                  <c:v>1.0532206745868522E-2</c:v>
                </c:pt>
                <c:pt idx="1804">
                  <c:v>2.518602608639231E-3</c:v>
                </c:pt>
                <c:pt idx="1805">
                  <c:v>4.7406662926650078E-3</c:v>
                </c:pt>
                <c:pt idx="1806">
                  <c:v>1.0183952763520576E-4</c:v>
                </c:pt>
                <c:pt idx="1807">
                  <c:v>4.3349469834244037E-3</c:v>
                </c:pt>
                <c:pt idx="1808">
                  <c:v>1.5589850779730852E-2</c:v>
                </c:pt>
                <c:pt idx="1809">
                  <c:v>2.6947048568057852E-3</c:v>
                </c:pt>
                <c:pt idx="1810">
                  <c:v>1.5077118845618021E-2</c:v>
                </c:pt>
                <c:pt idx="1811">
                  <c:v>7.3808550556669905E-3</c:v>
                </c:pt>
                <c:pt idx="1812">
                  <c:v>3.8540395364996538E-3</c:v>
                </c:pt>
                <c:pt idx="1813">
                  <c:v>9.8160273071884463E-3</c:v>
                </c:pt>
                <c:pt idx="1814">
                  <c:v>-1.0590381687894945E-3</c:v>
                </c:pt>
                <c:pt idx="1815">
                  <c:v>-3.571681395888926E-3</c:v>
                </c:pt>
                <c:pt idx="1816">
                  <c:v>-5.5858207640989699E-3</c:v>
                </c:pt>
                <c:pt idx="1817">
                  <c:v>-1.1266914353028512E-2</c:v>
                </c:pt>
                <c:pt idx="1818">
                  <c:v>-1.7721454938554704E-2</c:v>
                </c:pt>
                <c:pt idx="1819">
                  <c:v>-9.3793116923138742E-3</c:v>
                </c:pt>
                <c:pt idx="1820">
                  <c:v>-9.273959680960675E-3</c:v>
                </c:pt>
                <c:pt idx="1821">
                  <c:v>-7.5501227364130896E-3</c:v>
                </c:pt>
                <c:pt idx="1822">
                  <c:v>-3.9488711312463121E-3</c:v>
                </c:pt>
                <c:pt idx="1823">
                  <c:v>-1.8156069702259026E-2</c:v>
                </c:pt>
                <c:pt idx="1824">
                  <c:v>-2.0679828770134634E-2</c:v>
                </c:pt>
                <c:pt idx="1825">
                  <c:v>-3.0976328121968044E-2</c:v>
                </c:pt>
                <c:pt idx="1826">
                  <c:v>-2.899982268669421E-2</c:v>
                </c:pt>
                <c:pt idx="1827">
                  <c:v>-4.0393387520105795E-2</c:v>
                </c:pt>
                <c:pt idx="1828">
                  <c:v>-4.0638136924257329E-2</c:v>
                </c:pt>
                <c:pt idx="1829">
                  <c:v>-4.1878726370889408E-2</c:v>
                </c:pt>
                <c:pt idx="1830">
                  <c:v>-3.5358733350362992E-2</c:v>
                </c:pt>
                <c:pt idx="1831">
                  <c:v>-3.4668216228726734E-2</c:v>
                </c:pt>
                <c:pt idx="1832">
                  <c:v>-3.7715353568377963E-2</c:v>
                </c:pt>
                <c:pt idx="1833">
                  <c:v>-4.0973473581771169E-2</c:v>
                </c:pt>
                <c:pt idx="1834">
                  <c:v>-3.4357063017762646E-2</c:v>
                </c:pt>
                <c:pt idx="1835">
                  <c:v>-4.2138597263535971E-2</c:v>
                </c:pt>
                <c:pt idx="1836">
                  <c:v>-4.2330142427991824E-2</c:v>
                </c:pt>
                <c:pt idx="1837">
                  <c:v>-4.3555206683309033E-2</c:v>
                </c:pt>
                <c:pt idx="1838">
                  <c:v>-4.6787697553245855E-2</c:v>
                </c:pt>
                <c:pt idx="1839">
                  <c:v>-4.7116979155745864E-2</c:v>
                </c:pt>
                <c:pt idx="1840">
                  <c:v>-5.5528655031898966E-2</c:v>
                </c:pt>
                <c:pt idx="1841">
                  <c:v>-4.1697050706556826E-2</c:v>
                </c:pt>
                <c:pt idx="1842">
                  <c:v>-3.4239929573157468E-2</c:v>
                </c:pt>
                <c:pt idx="1843">
                  <c:v>-3.3582668090820889E-2</c:v>
                </c:pt>
                <c:pt idx="1844">
                  <c:v>-2.8469876060229216E-2</c:v>
                </c:pt>
                <c:pt idx="1845">
                  <c:v>-2.9531253567780191E-2</c:v>
                </c:pt>
                <c:pt idx="1846">
                  <c:v>-3.0212953916873286E-2</c:v>
                </c:pt>
                <c:pt idx="1847">
                  <c:v>-3.6220641531677811E-2</c:v>
                </c:pt>
                <c:pt idx="1848">
                  <c:v>-2.5784165151343741E-2</c:v>
                </c:pt>
                <c:pt idx="1849">
                  <c:v>-2.3343615440048038E-2</c:v>
                </c:pt>
                <c:pt idx="1850">
                  <c:v>-2.719871010482855E-2</c:v>
                </c:pt>
                <c:pt idx="1851">
                  <c:v>-2.7295571629276205E-2</c:v>
                </c:pt>
                <c:pt idx="1852">
                  <c:v>-2.3868307021658541E-2</c:v>
                </c:pt>
                <c:pt idx="1853">
                  <c:v>-1.5620104781094657E-2</c:v>
                </c:pt>
                <c:pt idx="1854">
                  <c:v>-9.5823021799411601E-3</c:v>
                </c:pt>
                <c:pt idx="1855">
                  <c:v>-4.8234669193022439E-3</c:v>
                </c:pt>
                <c:pt idx="1856">
                  <c:v>-2.4624878610188805E-3</c:v>
                </c:pt>
                <c:pt idx="1857">
                  <c:v>3.8738460349786452E-3</c:v>
                </c:pt>
                <c:pt idx="1858">
                  <c:v>1.1092028002498533E-2</c:v>
                </c:pt>
                <c:pt idx="1859">
                  <c:v>2.0882167536996787E-2</c:v>
                </c:pt>
                <c:pt idx="1860">
                  <c:v>1.6389268167793847E-2</c:v>
                </c:pt>
                <c:pt idx="1861">
                  <c:v>1.3482472150915026E-2</c:v>
                </c:pt>
                <c:pt idx="1862">
                  <c:v>2.4576916107610369E-2</c:v>
                </c:pt>
                <c:pt idx="1863">
                  <c:v>2.9972062632914076E-2</c:v>
                </c:pt>
                <c:pt idx="1864">
                  <c:v>3.6767184805155839E-2</c:v>
                </c:pt>
                <c:pt idx="1865">
                  <c:v>4.0344069736056531E-2</c:v>
                </c:pt>
                <c:pt idx="1866">
                  <c:v>3.8350065986081261E-2</c:v>
                </c:pt>
                <c:pt idx="1867">
                  <c:v>4.3339924448855816E-2</c:v>
                </c:pt>
                <c:pt idx="1868">
                  <c:v>4.2159423808374674E-2</c:v>
                </c:pt>
                <c:pt idx="1869">
                  <c:v>4.3933891685718485E-2</c:v>
                </c:pt>
                <c:pt idx="1870">
                  <c:v>5.0672333903323152E-2</c:v>
                </c:pt>
                <c:pt idx="1871">
                  <c:v>4.986345024250638E-2</c:v>
                </c:pt>
                <c:pt idx="1872">
                  <c:v>5.1019153440273635E-2</c:v>
                </c:pt>
                <c:pt idx="1873">
                  <c:v>5.1700378738511299E-2</c:v>
                </c:pt>
                <c:pt idx="1874">
                  <c:v>5.7741789472138261E-2</c:v>
                </c:pt>
                <c:pt idx="1875">
                  <c:v>4.8102457049609137E-2</c:v>
                </c:pt>
                <c:pt idx="1876">
                  <c:v>5.2410352457506137E-2</c:v>
                </c:pt>
                <c:pt idx="1877">
                  <c:v>4.9483693082588709E-2</c:v>
                </c:pt>
                <c:pt idx="1878">
                  <c:v>4.8919003526242011E-2</c:v>
                </c:pt>
                <c:pt idx="1879">
                  <c:v>4.3502276613808677E-2</c:v>
                </c:pt>
                <c:pt idx="1880">
                  <c:v>4.6454517525331918E-2</c:v>
                </c:pt>
                <c:pt idx="1881">
                  <c:v>3.588753263118305E-2</c:v>
                </c:pt>
                <c:pt idx="1882">
                  <c:v>3.4872261403401494E-2</c:v>
                </c:pt>
                <c:pt idx="1883">
                  <c:v>3.030842481945939E-2</c:v>
                </c:pt>
                <c:pt idx="1884">
                  <c:v>3.2003080716216492E-2</c:v>
                </c:pt>
                <c:pt idx="1885">
                  <c:v>3.3827766319967312E-2</c:v>
                </c:pt>
                <c:pt idx="1886">
                  <c:v>3.6070572699777315E-2</c:v>
                </c:pt>
                <c:pt idx="1887">
                  <c:v>3.6462497172962349E-2</c:v>
                </c:pt>
                <c:pt idx="1888">
                  <c:v>3.3449023835911085E-2</c:v>
                </c:pt>
                <c:pt idx="1889">
                  <c:v>4.3208941449568772E-2</c:v>
                </c:pt>
                <c:pt idx="1890">
                  <c:v>5.9790438464692341E-2</c:v>
                </c:pt>
                <c:pt idx="1891">
                  <c:v>-9.0919716529446193E-3</c:v>
                </c:pt>
                <c:pt idx="1892">
                  <c:v>-5.8593467739941785E-2</c:v>
                </c:pt>
                <c:pt idx="1893">
                  <c:v>-9.8762503287871728E-2</c:v>
                </c:pt>
                <c:pt idx="1894">
                  <c:v>-0.12251005776370016</c:v>
                </c:pt>
                <c:pt idx="1895">
                  <c:v>-0.13251155766854117</c:v>
                </c:pt>
                <c:pt idx="1896">
                  <c:v>-6.692146673544519E-2</c:v>
                </c:pt>
                <c:pt idx="1897">
                  <c:v>-9.9097064510635269E-2</c:v>
                </c:pt>
                <c:pt idx="1898">
                  <c:v>-0.12020461075146793</c:v>
                </c:pt>
                <c:pt idx="1899">
                  <c:v>-0.1055990488781855</c:v>
                </c:pt>
                <c:pt idx="1900">
                  <c:v>-5.6723591740858503E-2</c:v>
                </c:pt>
                <c:pt idx="1901">
                  <c:v>-6.5438694303776135E-2</c:v>
                </c:pt>
                <c:pt idx="1902">
                  <c:v>-6.1308022664230077E-2</c:v>
                </c:pt>
                <c:pt idx="1903">
                  <c:v>-8.7611294502814019E-2</c:v>
                </c:pt>
                <c:pt idx="1904">
                  <c:v>-9.8944105113756953E-2</c:v>
                </c:pt>
                <c:pt idx="1905">
                  <c:v>-0.10040369102080327</c:v>
                </c:pt>
                <c:pt idx="1906">
                  <c:v>-5.5372221547673406E-2</c:v>
                </c:pt>
                <c:pt idx="1907">
                  <c:v>-4.9262797712951167E-2</c:v>
                </c:pt>
                <c:pt idx="1908">
                  <c:v>-7.5732367493221875E-2</c:v>
                </c:pt>
                <c:pt idx="1909">
                  <c:v>-6.117128115767978E-2</c:v>
                </c:pt>
                <c:pt idx="1910">
                  <c:v>-6.1207590936441347E-2</c:v>
                </c:pt>
                <c:pt idx="1911">
                  <c:v>-1.5368257725152157E-2</c:v>
                </c:pt>
                <c:pt idx="1912">
                  <c:v>2.6739247841126579E-3</c:v>
                </c:pt>
                <c:pt idx="1913">
                  <c:v>1.5096365781717802E-2</c:v>
                </c:pt>
                <c:pt idx="1914">
                  <c:v>-1.2090188567426274E-3</c:v>
                </c:pt>
                <c:pt idx="1915">
                  <c:v>8.0271124969821805E-4</c:v>
                </c:pt>
                <c:pt idx="1916">
                  <c:v>-1.3309289897316723E-2</c:v>
                </c:pt>
                <c:pt idx="1917">
                  <c:v>1.627017927821417E-2</c:v>
                </c:pt>
                <c:pt idx="1918">
                  <c:v>1.4403819982361288E-2</c:v>
                </c:pt>
                <c:pt idx="1919">
                  <c:v>5.2798012635008384E-2</c:v>
                </c:pt>
                <c:pt idx="1920">
                  <c:v>6.2187336205569932E-2</c:v>
                </c:pt>
                <c:pt idx="1921">
                  <c:v>4.4417686939856371E-2</c:v>
                </c:pt>
                <c:pt idx="1922">
                  <c:v>5.3377495633231575E-2</c:v>
                </c:pt>
                <c:pt idx="1923">
                  <c:v>6.4729843857187164E-2</c:v>
                </c:pt>
                <c:pt idx="1924">
                  <c:v>3.2008165239316377E-2</c:v>
                </c:pt>
                <c:pt idx="1925">
                  <c:v>5.3788390578053513E-2</c:v>
                </c:pt>
                <c:pt idx="1926">
                  <c:v>3.5335275570560154E-2</c:v>
                </c:pt>
                <c:pt idx="1927">
                  <c:v>2.2304228853389896E-2</c:v>
                </c:pt>
                <c:pt idx="1928">
                  <c:v>1.0698367800838882E-2</c:v>
                </c:pt>
                <c:pt idx="1929">
                  <c:v>2.1494067044753873E-2</c:v>
                </c:pt>
                <c:pt idx="1930">
                  <c:v>6.6966526950958949E-3</c:v>
                </c:pt>
                <c:pt idx="1931">
                  <c:v>-5.6971352814690013E-2</c:v>
                </c:pt>
                <c:pt idx="1932">
                  <c:v>-3.0964544957086115E-2</c:v>
                </c:pt>
                <c:pt idx="1933">
                  <c:v>-1.6699826412103214E-2</c:v>
                </c:pt>
                <c:pt idx="1934">
                  <c:v>-1.3065624705385637E-2</c:v>
                </c:pt>
                <c:pt idx="1935">
                  <c:v>-1.9947155607228373E-3</c:v>
                </c:pt>
                <c:pt idx="1936">
                  <c:v>-2.41628193913066E-2</c:v>
                </c:pt>
                <c:pt idx="1937">
                  <c:v>-2.002583071026931E-2</c:v>
                </c:pt>
                <c:pt idx="1938">
                  <c:v>9.6735690635402216E-3</c:v>
                </c:pt>
                <c:pt idx="1939">
                  <c:v>2.90285024954412E-2</c:v>
                </c:pt>
                <c:pt idx="1940">
                  <c:v>4.6816347427268812E-2</c:v>
                </c:pt>
                <c:pt idx="1941">
                  <c:v>3.9144933861266273E-2</c:v>
                </c:pt>
                <c:pt idx="1942">
                  <c:v>4.0744659960463947E-2</c:v>
                </c:pt>
                <c:pt idx="1943">
                  <c:v>3.4870116696485765E-2</c:v>
                </c:pt>
                <c:pt idx="1944">
                  <c:v>4.1502432775282982E-2</c:v>
                </c:pt>
                <c:pt idx="1945">
                  <c:v>8.0236892400779025E-2</c:v>
                </c:pt>
                <c:pt idx="1946">
                  <c:v>0.11257036748282778</c:v>
                </c:pt>
                <c:pt idx="1947">
                  <c:v>0.13000734399941227</c:v>
                </c:pt>
                <c:pt idx="1948">
                  <c:v>0.14110578659441542</c:v>
                </c:pt>
                <c:pt idx="1949">
                  <c:v>0.10354578208803722</c:v>
                </c:pt>
                <c:pt idx="1950">
                  <c:v>0.10983147103648994</c:v>
                </c:pt>
                <c:pt idx="1951">
                  <c:v>0.11492867451135891</c:v>
                </c:pt>
                <c:pt idx="1952">
                  <c:v>7.4079745529039509E-2</c:v>
                </c:pt>
                <c:pt idx="1953">
                  <c:v>0.11441520422842666</c:v>
                </c:pt>
                <c:pt idx="1954">
                  <c:v>5.2062146774349949E-2</c:v>
                </c:pt>
                <c:pt idx="1955">
                  <c:v>5.6873535817081988E-2</c:v>
                </c:pt>
                <c:pt idx="1956">
                  <c:v>5.1777159419515328E-2</c:v>
                </c:pt>
                <c:pt idx="1957">
                  <c:v>6.9307651720444952E-3</c:v>
                </c:pt>
                <c:pt idx="1958">
                  <c:v>-3.9898921682946287E-2</c:v>
                </c:pt>
                <c:pt idx="1959">
                  <c:v>-8.3176816957404087E-2</c:v>
                </c:pt>
                <c:pt idx="1960">
                  <c:v>-3.4104263870166296E-2</c:v>
                </c:pt>
                <c:pt idx="1961">
                  <c:v>-4.4933389053566364E-3</c:v>
                </c:pt>
                <c:pt idx="1962">
                  <c:v>-3.8105162500612355E-3</c:v>
                </c:pt>
                <c:pt idx="1963">
                  <c:v>-1.4843869165526158E-2</c:v>
                </c:pt>
                <c:pt idx="1964">
                  <c:v>-2.3966479433690235E-3</c:v>
                </c:pt>
                <c:pt idx="1965">
                  <c:v>6.0980518773103842E-3</c:v>
                </c:pt>
                <c:pt idx="1966">
                  <c:v>1.1220801770015498E-3</c:v>
                </c:pt>
                <c:pt idx="1967">
                  <c:v>1.0600366942236095E-3</c:v>
                </c:pt>
                <c:pt idx="1968">
                  <c:v>-3.2861027000271603E-3</c:v>
                </c:pt>
                <c:pt idx="1969">
                  <c:v>-3.6941924973155071E-3</c:v>
                </c:pt>
                <c:pt idx="1970">
                  <c:v>-4.4056902044631308E-3</c:v>
                </c:pt>
                <c:pt idx="1971">
                  <c:v>-3.7645768906805488E-3</c:v>
                </c:pt>
                <c:pt idx="1972">
                  <c:v>-1.0235245093013212E-3</c:v>
                </c:pt>
                <c:pt idx="1973">
                  <c:v>-7.5851330274715467E-3</c:v>
                </c:pt>
                <c:pt idx="1974">
                  <c:v>-1.0693468769064407E-2</c:v>
                </c:pt>
                <c:pt idx="1975">
                  <c:v>-2.401387962542556E-2</c:v>
                </c:pt>
                <c:pt idx="1976">
                  <c:v>-2.0383371939252992E-2</c:v>
                </c:pt>
                <c:pt idx="1977">
                  <c:v>-2.2542771459623245E-2</c:v>
                </c:pt>
                <c:pt idx="1978">
                  <c:v>-2.097076089072214E-2</c:v>
                </c:pt>
                <c:pt idx="1979">
                  <c:v>-1.7445312399924973E-2</c:v>
                </c:pt>
                <c:pt idx="1980">
                  <c:v>-1.1549099006197272E-2</c:v>
                </c:pt>
                <c:pt idx="1981">
                  <c:v>-1.1899505915706543E-2</c:v>
                </c:pt>
                <c:pt idx="1982">
                  <c:v>-8.537977912383532E-3</c:v>
                </c:pt>
                <c:pt idx="1983">
                  <c:v>-1.2386911806769429E-2</c:v>
                </c:pt>
                <c:pt idx="1984">
                  <c:v>-1.5822919767320975E-3</c:v>
                </c:pt>
                <c:pt idx="1985">
                  <c:v>8.6051472483972269E-5</c:v>
                </c:pt>
                <c:pt idx="1986">
                  <c:v>-1.1720279013561652E-2</c:v>
                </c:pt>
                <c:pt idx="1987">
                  <c:v>-2.6799025780454011E-3</c:v>
                </c:pt>
                <c:pt idx="1988">
                  <c:v>-8.9142364841021671E-4</c:v>
                </c:pt>
                <c:pt idx="1989">
                  <c:v>-2.4889733065786013E-3</c:v>
                </c:pt>
                <c:pt idx="1990">
                  <c:v>2.3594266324225011E-3</c:v>
                </c:pt>
                <c:pt idx="1991">
                  <c:v>2.8304610039580069E-3</c:v>
                </c:pt>
                <c:pt idx="1992">
                  <c:v>-1.2455787050764666E-3</c:v>
                </c:pt>
                <c:pt idx="1993">
                  <c:v>6.9322091138496189E-3</c:v>
                </c:pt>
                <c:pt idx="1994">
                  <c:v>-6.29027040274166E-3</c:v>
                </c:pt>
                <c:pt idx="1995">
                  <c:v>-1.5921357251942658E-2</c:v>
                </c:pt>
                <c:pt idx="1996">
                  <c:v>-1.1545376366691729E-2</c:v>
                </c:pt>
                <c:pt idx="1997">
                  <c:v>-3.7614679378294991E-3</c:v>
                </c:pt>
                <c:pt idx="1998">
                  <c:v>-5.7040708123526906E-3</c:v>
                </c:pt>
                <c:pt idx="1999">
                  <c:v>-1.4320776250521083E-2</c:v>
                </c:pt>
                <c:pt idx="2000">
                  <c:v>-1.718463792571967E-2</c:v>
                </c:pt>
                <c:pt idx="2001">
                  <c:v>-2.1865389529849844E-2</c:v>
                </c:pt>
                <c:pt idx="2002">
                  <c:v>-2.2168294060365357E-2</c:v>
                </c:pt>
                <c:pt idx="2003">
                  <c:v>-1.4844708464887835E-2</c:v>
                </c:pt>
                <c:pt idx="2004">
                  <c:v>-1.2226330335628255E-2</c:v>
                </c:pt>
                <c:pt idx="2005">
                  <c:v>-5.1481564030819715E-3</c:v>
                </c:pt>
                <c:pt idx="2006">
                  <c:v>-3.1931021752070743E-3</c:v>
                </c:pt>
                <c:pt idx="2007">
                  <c:v>-5.8982014662067872E-4</c:v>
                </c:pt>
                <c:pt idx="2008">
                  <c:v>-1.1853498711503763E-3</c:v>
                </c:pt>
                <c:pt idx="2009">
                  <c:v>-2.1785142020923631E-3</c:v>
                </c:pt>
                <c:pt idx="2010">
                  <c:v>-4.6204001732537137E-3</c:v>
                </c:pt>
                <c:pt idx="2011">
                  <c:v>4.3882397066097312E-5</c:v>
                </c:pt>
                <c:pt idx="2012">
                  <c:v>3.7895006146204668E-4</c:v>
                </c:pt>
                <c:pt idx="2013">
                  <c:v>6.9522567111753864E-3</c:v>
                </c:pt>
                <c:pt idx="2014">
                  <c:v>1.0183544190476068E-2</c:v>
                </c:pt>
                <c:pt idx="2015">
                  <c:v>1.0162333196577333E-2</c:v>
                </c:pt>
                <c:pt idx="2016">
                  <c:v>2.0806129143105534E-2</c:v>
                </c:pt>
                <c:pt idx="2017">
                  <c:v>2.9149367464441189E-2</c:v>
                </c:pt>
                <c:pt idx="2018">
                  <c:v>3.0195818315592149E-2</c:v>
                </c:pt>
                <c:pt idx="2019">
                  <c:v>3.1276653817718381E-2</c:v>
                </c:pt>
                <c:pt idx="2020">
                  <c:v>2.2609921914031217E-2</c:v>
                </c:pt>
                <c:pt idx="2021">
                  <c:v>2.6187899150974636E-2</c:v>
                </c:pt>
                <c:pt idx="2022">
                  <c:v>2.3241171029335539E-2</c:v>
                </c:pt>
                <c:pt idx="2023">
                  <c:v>6.4803849768677591E-3</c:v>
                </c:pt>
                <c:pt idx="2024">
                  <c:v>2.4037600100588197E-2</c:v>
                </c:pt>
                <c:pt idx="2025">
                  <c:v>3.0619239824765998E-2</c:v>
                </c:pt>
                <c:pt idx="2026">
                  <c:v>3.3025958389406695E-2</c:v>
                </c:pt>
                <c:pt idx="2027">
                  <c:v>1.6389117203424841E-2</c:v>
                </c:pt>
                <c:pt idx="2028">
                  <c:v>2.2729584429151628E-2</c:v>
                </c:pt>
                <c:pt idx="2029">
                  <c:v>3.5209518828433262E-2</c:v>
                </c:pt>
                <c:pt idx="2030">
                  <c:v>4.044792580293044E-2</c:v>
                </c:pt>
                <c:pt idx="2031">
                  <c:v>3.8923013483042834E-2</c:v>
                </c:pt>
                <c:pt idx="2032">
                  <c:v>3.3555885199488489E-2</c:v>
                </c:pt>
                <c:pt idx="2033">
                  <c:v>2.856450247107345E-2</c:v>
                </c:pt>
                <c:pt idx="2034">
                  <c:v>1.4443676967424213E-2</c:v>
                </c:pt>
                <c:pt idx="2035">
                  <c:v>2.1628243211004095E-2</c:v>
                </c:pt>
                <c:pt idx="2036">
                  <c:v>1.5211393563940412E-2</c:v>
                </c:pt>
                <c:pt idx="2037">
                  <c:v>-1.7335603337281791E-3</c:v>
                </c:pt>
                <c:pt idx="2038">
                  <c:v>7.4453591686074461E-4</c:v>
                </c:pt>
                <c:pt idx="2039">
                  <c:v>-4.3587225996971624E-3</c:v>
                </c:pt>
                <c:pt idx="2040">
                  <c:v>-7.9332245400803858E-3</c:v>
                </c:pt>
                <c:pt idx="2041">
                  <c:v>-8.2082845400247573E-3</c:v>
                </c:pt>
                <c:pt idx="2042">
                  <c:v>-7.2927447126568401E-3</c:v>
                </c:pt>
                <c:pt idx="2043">
                  <c:v>-8.5859788624783606E-3</c:v>
                </c:pt>
                <c:pt idx="2044">
                  <c:v>-8.1665744734821244E-3</c:v>
                </c:pt>
                <c:pt idx="2045">
                  <c:v>-3.9379676837871802E-3</c:v>
                </c:pt>
                <c:pt idx="2046">
                  <c:v>-1.2967536037256533E-2</c:v>
                </c:pt>
                <c:pt idx="2047">
                  <c:v>-1.6570045480432838E-2</c:v>
                </c:pt>
                <c:pt idx="2048">
                  <c:v>-1.6059751426279023E-2</c:v>
                </c:pt>
                <c:pt idx="2049">
                  <c:v>-1.2207021424041287E-2</c:v>
                </c:pt>
                <c:pt idx="2050">
                  <c:v>-3.5475844560383107E-3</c:v>
                </c:pt>
                <c:pt idx="2051">
                  <c:v>-7.2597571075968537E-3</c:v>
                </c:pt>
                <c:pt idx="2052">
                  <c:v>-5.9552146213364132E-3</c:v>
                </c:pt>
                <c:pt idx="2053">
                  <c:v>3.2916651732461943E-3</c:v>
                </c:pt>
                <c:pt idx="2054">
                  <c:v>2.6382415384070823E-3</c:v>
                </c:pt>
                <c:pt idx="2055">
                  <c:v>2.2685269493297744E-3</c:v>
                </c:pt>
                <c:pt idx="2056">
                  <c:v>-4.342760520422595E-3</c:v>
                </c:pt>
                <c:pt idx="2057">
                  <c:v>1.781918188677678E-3</c:v>
                </c:pt>
                <c:pt idx="2058">
                  <c:v>-3.6473955937369462E-3</c:v>
                </c:pt>
                <c:pt idx="2059">
                  <c:v>-5.4805272418937401E-3</c:v>
                </c:pt>
                <c:pt idx="2060">
                  <c:v>-4.2868283569329479E-3</c:v>
                </c:pt>
                <c:pt idx="2061">
                  <c:v>-3.1146484406091579E-3</c:v>
                </c:pt>
                <c:pt idx="2062">
                  <c:v>-6.0284835555792782E-3</c:v>
                </c:pt>
                <c:pt idx="2063">
                  <c:v>-7.4679511916028174E-3</c:v>
                </c:pt>
                <c:pt idx="2064">
                  <c:v>4.6148516332032985E-3</c:v>
                </c:pt>
                <c:pt idx="2065">
                  <c:v>5.1069184593312E-3</c:v>
                </c:pt>
                <c:pt idx="2066">
                  <c:v>3.7040998987991625E-3</c:v>
                </c:pt>
                <c:pt idx="2067">
                  <c:v>1.6419735381894784E-2</c:v>
                </c:pt>
                <c:pt idx="2068">
                  <c:v>5.674713176416879E-3</c:v>
                </c:pt>
                <c:pt idx="2069">
                  <c:v>9.8481723777511521E-3</c:v>
                </c:pt>
                <c:pt idx="2070">
                  <c:v>1.0215365749971728E-2</c:v>
                </c:pt>
                <c:pt idx="2071">
                  <c:v>4.0127972330827877E-3</c:v>
                </c:pt>
                <c:pt idx="2072">
                  <c:v>-8.7900687783335485E-3</c:v>
                </c:pt>
                <c:pt idx="2073">
                  <c:v>6.014090014222484E-4</c:v>
                </c:pt>
                <c:pt idx="2074">
                  <c:v>-2.4640400481112934E-6</c:v>
                </c:pt>
                <c:pt idx="2075">
                  <c:v>-2.0629042106014572E-2</c:v>
                </c:pt>
                <c:pt idx="2076">
                  <c:v>-3.2501288844263287E-3</c:v>
                </c:pt>
                <c:pt idx="2077">
                  <c:v>-4.4047370652916529E-3</c:v>
                </c:pt>
                <c:pt idx="2078">
                  <c:v>-8.1620009373147839E-3</c:v>
                </c:pt>
                <c:pt idx="2079">
                  <c:v>-1.3797209827479118E-2</c:v>
                </c:pt>
                <c:pt idx="2080">
                  <c:v>-2.3897127088152059E-2</c:v>
                </c:pt>
                <c:pt idx="2081">
                  <c:v>-4.0704915257007035E-2</c:v>
                </c:pt>
                <c:pt idx="2082">
                  <c:v>-3.9651614337317564E-2</c:v>
                </c:pt>
                <c:pt idx="2083">
                  <c:v>-3.9246856311193623E-2</c:v>
                </c:pt>
                <c:pt idx="2084">
                  <c:v>-4.6069190562311513E-2</c:v>
                </c:pt>
                <c:pt idx="2085">
                  <c:v>-4.6326950923390786E-2</c:v>
                </c:pt>
                <c:pt idx="2086">
                  <c:v>-4.5754324778763622E-2</c:v>
                </c:pt>
                <c:pt idx="2087">
                  <c:v>-4.3852966887162115E-2</c:v>
                </c:pt>
                <c:pt idx="2088">
                  <c:v>-4.5367628811782912E-2</c:v>
                </c:pt>
                <c:pt idx="2089">
                  <c:v>-3.9399403026056046E-2</c:v>
                </c:pt>
                <c:pt idx="2090">
                  <c:v>-3.7521641946096751E-2</c:v>
                </c:pt>
                <c:pt idx="2091">
                  <c:v>-5.1763898217186743E-2</c:v>
                </c:pt>
                <c:pt idx="2092">
                  <c:v>-5.1977934250423852E-2</c:v>
                </c:pt>
                <c:pt idx="2093">
                  <c:v>-4.8643597345314427E-2</c:v>
                </c:pt>
                <c:pt idx="2094">
                  <c:v>-3.9828706426218052E-2</c:v>
                </c:pt>
                <c:pt idx="2095">
                  <c:v>-3.9995021562905575E-2</c:v>
                </c:pt>
                <c:pt idx="2096">
                  <c:v>-4.0618359184660058E-2</c:v>
                </c:pt>
                <c:pt idx="2097">
                  <c:v>-3.8826321409012432E-2</c:v>
                </c:pt>
                <c:pt idx="2098">
                  <c:v>-3.403347697124226E-2</c:v>
                </c:pt>
                <c:pt idx="2099">
                  <c:v>-3.9260812820659297E-2</c:v>
                </c:pt>
                <c:pt idx="2100">
                  <c:v>-3.2498602058676163E-2</c:v>
                </c:pt>
                <c:pt idx="2101">
                  <c:v>-2.8252055935399922E-2</c:v>
                </c:pt>
                <c:pt idx="2102">
                  <c:v>-1.6741160422336754E-2</c:v>
                </c:pt>
                <c:pt idx="2103">
                  <c:v>-1.1924364908863727E-2</c:v>
                </c:pt>
                <c:pt idx="2104">
                  <c:v>-8.2478836892562191E-3</c:v>
                </c:pt>
                <c:pt idx="2105">
                  <c:v>6.7026670577602365E-3</c:v>
                </c:pt>
                <c:pt idx="2106">
                  <c:v>1.3257099419009877E-2</c:v>
                </c:pt>
                <c:pt idx="2107">
                  <c:v>1.2757353716075337E-2</c:v>
                </c:pt>
                <c:pt idx="2108">
                  <c:v>1.9011434802371663E-2</c:v>
                </c:pt>
                <c:pt idx="2109">
                  <c:v>1.9701138115030381E-2</c:v>
                </c:pt>
                <c:pt idx="2110">
                  <c:v>2.53039841768814E-2</c:v>
                </c:pt>
                <c:pt idx="2111">
                  <c:v>3.8756590645481204E-2</c:v>
                </c:pt>
                <c:pt idx="2112">
                  <c:v>4.0270598803310076E-2</c:v>
                </c:pt>
                <c:pt idx="2113">
                  <c:v>4.5820918388394971E-2</c:v>
                </c:pt>
                <c:pt idx="2114">
                  <c:v>4.7016708380605565E-2</c:v>
                </c:pt>
                <c:pt idx="2115">
                  <c:v>3.8794646095792418E-2</c:v>
                </c:pt>
                <c:pt idx="2116">
                  <c:v>4.6727286288189229E-2</c:v>
                </c:pt>
                <c:pt idx="2117">
                  <c:v>4.4908924699161745E-2</c:v>
                </c:pt>
                <c:pt idx="2118">
                  <c:v>4.260009692832567E-2</c:v>
                </c:pt>
                <c:pt idx="2119">
                  <c:v>4.6476548479195023E-2</c:v>
                </c:pt>
                <c:pt idx="2120">
                  <c:v>4.6004754556624339E-2</c:v>
                </c:pt>
                <c:pt idx="2121">
                  <c:v>3.6454567696542095E-2</c:v>
                </c:pt>
                <c:pt idx="2122">
                  <c:v>3.9063284759479511E-2</c:v>
                </c:pt>
                <c:pt idx="2123">
                  <c:v>2.9294852596181142E-2</c:v>
                </c:pt>
                <c:pt idx="2124">
                  <c:v>2.2276107083830432E-2</c:v>
                </c:pt>
                <c:pt idx="2125">
                  <c:v>1.5245035384715111E-2</c:v>
                </c:pt>
                <c:pt idx="2126">
                  <c:v>2.0552554625283603E-2</c:v>
                </c:pt>
                <c:pt idx="2127">
                  <c:v>1.739650653063296E-2</c:v>
                </c:pt>
                <c:pt idx="2128">
                  <c:v>2.3943444305390305E-2</c:v>
                </c:pt>
                <c:pt idx="2129">
                  <c:v>2.1155424148944668E-2</c:v>
                </c:pt>
                <c:pt idx="2130">
                  <c:v>2.5008643485017412E-2</c:v>
                </c:pt>
                <c:pt idx="2131">
                  <c:v>2.1434387680140943E-2</c:v>
                </c:pt>
                <c:pt idx="2132">
                  <c:v>1.82711605103133E-2</c:v>
                </c:pt>
                <c:pt idx="2133">
                  <c:v>8.0694900202886721E-3</c:v>
                </c:pt>
                <c:pt idx="2134">
                  <c:v>8.9693434034829878E-3</c:v>
                </c:pt>
                <c:pt idx="2135">
                  <c:v>9.1290717157119783E-3</c:v>
                </c:pt>
                <c:pt idx="2136">
                  <c:v>7.7163475563046813E-3</c:v>
                </c:pt>
                <c:pt idx="2137">
                  <c:v>-1.5230713212379676E-3</c:v>
                </c:pt>
                <c:pt idx="2138">
                  <c:v>-1.3187592411957549E-2</c:v>
                </c:pt>
                <c:pt idx="2139">
                  <c:v>-1.8996134047260305E-2</c:v>
                </c:pt>
                <c:pt idx="2140">
                  <c:v>-3.430911581784335E-2</c:v>
                </c:pt>
                <c:pt idx="2141">
                  <c:v>-3.0928414639795565E-2</c:v>
                </c:pt>
                <c:pt idx="2142">
                  <c:v>-4.0589965427714314E-2</c:v>
                </c:pt>
                <c:pt idx="2143">
                  <c:v>-4.9033471023700148E-2</c:v>
                </c:pt>
                <c:pt idx="2144">
                  <c:v>-5.6274100454481224E-2</c:v>
                </c:pt>
                <c:pt idx="2145">
                  <c:v>-6.0835640364010901E-2</c:v>
                </c:pt>
                <c:pt idx="2146">
                  <c:v>-5.6662049340369114E-2</c:v>
                </c:pt>
                <c:pt idx="2147">
                  <c:v>-5.7015297157214762E-2</c:v>
                </c:pt>
                <c:pt idx="2148">
                  <c:v>-5.7940918382445306E-2</c:v>
                </c:pt>
                <c:pt idx="2149">
                  <c:v>-5.7191764486358321E-2</c:v>
                </c:pt>
                <c:pt idx="2150">
                  <c:v>-5.8453269940254571E-2</c:v>
                </c:pt>
                <c:pt idx="2151">
                  <c:v>-4.7084349026649708E-2</c:v>
                </c:pt>
                <c:pt idx="2152">
                  <c:v>-5.3434840103476322E-2</c:v>
                </c:pt>
                <c:pt idx="2153">
                  <c:v>-4.4175283281534639E-2</c:v>
                </c:pt>
                <c:pt idx="2154">
                  <c:v>-4.9554029383117038E-2</c:v>
                </c:pt>
                <c:pt idx="2155">
                  <c:v>-3.4965130732992455E-2</c:v>
                </c:pt>
                <c:pt idx="2156">
                  <c:v>-3.1647526434440132E-2</c:v>
                </c:pt>
                <c:pt idx="2157">
                  <c:v>-3.6020769738471459E-2</c:v>
                </c:pt>
                <c:pt idx="2158">
                  <c:v>-4.3540585238892482E-2</c:v>
                </c:pt>
                <c:pt idx="2159">
                  <c:v>-3.4153029087669817E-2</c:v>
                </c:pt>
                <c:pt idx="2160">
                  <c:v>-3.7963868776117238E-2</c:v>
                </c:pt>
                <c:pt idx="2161">
                  <c:v>-3.3616866658357281E-2</c:v>
                </c:pt>
                <c:pt idx="2162">
                  <c:v>-3.6536575788045256E-2</c:v>
                </c:pt>
                <c:pt idx="2163">
                  <c:v>-3.3438658852446457E-2</c:v>
                </c:pt>
                <c:pt idx="2164">
                  <c:v>-3.0761669108317569E-2</c:v>
                </c:pt>
                <c:pt idx="2165">
                  <c:v>-2.9697947050045026E-2</c:v>
                </c:pt>
                <c:pt idx="2166">
                  <c:v>-4.0365318332002409E-2</c:v>
                </c:pt>
                <c:pt idx="2167">
                  <c:v>-3.4052395602844232E-2</c:v>
                </c:pt>
                <c:pt idx="2168">
                  <c:v>-2.2676785430076563E-2</c:v>
                </c:pt>
                <c:pt idx="2169">
                  <c:v>-1.3163589630090233E-2</c:v>
                </c:pt>
                <c:pt idx="2170">
                  <c:v>1.0641802234392372E-3</c:v>
                </c:pt>
                <c:pt idx="2171">
                  <c:v>-1.9149446672811488E-3</c:v>
                </c:pt>
                <c:pt idx="2172">
                  <c:v>5.6163570219448511E-3</c:v>
                </c:pt>
                <c:pt idx="2173">
                  <c:v>1.7179694199666473E-2</c:v>
                </c:pt>
                <c:pt idx="2174">
                  <c:v>2.2789464161940387E-2</c:v>
                </c:pt>
                <c:pt idx="2175">
                  <c:v>3.1945020816852576E-2</c:v>
                </c:pt>
                <c:pt idx="2176">
                  <c:v>3.5657587645517519E-2</c:v>
                </c:pt>
                <c:pt idx="2177">
                  <c:v>2.6931497587009079E-2</c:v>
                </c:pt>
                <c:pt idx="2178">
                  <c:v>2.6899454428912728E-2</c:v>
                </c:pt>
                <c:pt idx="2179">
                  <c:v>2.1378750921467904E-2</c:v>
                </c:pt>
                <c:pt idx="2180">
                  <c:v>2.0851011617895154E-2</c:v>
                </c:pt>
                <c:pt idx="2181">
                  <c:v>1.9738073193970584E-2</c:v>
                </c:pt>
                <c:pt idx="2182">
                  <c:v>2.7735686484773314E-2</c:v>
                </c:pt>
                <c:pt idx="2183">
                  <c:v>2.3261329865254421E-2</c:v>
                </c:pt>
                <c:pt idx="2184">
                  <c:v>3.6096827290695743E-2</c:v>
                </c:pt>
                <c:pt idx="2185">
                  <c:v>3.7543717379053598E-2</c:v>
                </c:pt>
                <c:pt idx="2186">
                  <c:v>3.6805152649582062E-2</c:v>
                </c:pt>
                <c:pt idx="2187">
                  <c:v>4.4784098977317943E-2</c:v>
                </c:pt>
                <c:pt idx="2188">
                  <c:v>5.0564608606762262E-2</c:v>
                </c:pt>
                <c:pt idx="2189">
                  <c:v>4.7304392216374724E-2</c:v>
                </c:pt>
                <c:pt idx="2190">
                  <c:v>4.3953433153585353E-2</c:v>
                </c:pt>
                <c:pt idx="2191">
                  <c:v>3.1376952586153473E-2</c:v>
                </c:pt>
                <c:pt idx="2192">
                  <c:v>3.5648063377608175E-2</c:v>
                </c:pt>
                <c:pt idx="2193">
                  <c:v>3.8071525017843055E-2</c:v>
                </c:pt>
                <c:pt idx="2194">
                  <c:v>1.7613576591691049E-2</c:v>
                </c:pt>
                <c:pt idx="2195">
                  <c:v>1.3815143438971944E-2</c:v>
                </c:pt>
                <c:pt idx="2196">
                  <c:v>1.9169133077332257E-2</c:v>
                </c:pt>
                <c:pt idx="2197">
                  <c:v>1.7840943237265372E-2</c:v>
                </c:pt>
                <c:pt idx="2198">
                  <c:v>2.3684266797865283E-2</c:v>
                </c:pt>
                <c:pt idx="2199">
                  <c:v>2.4361186730662676E-2</c:v>
                </c:pt>
                <c:pt idx="2200">
                  <c:v>2.1800602186730411E-2</c:v>
                </c:pt>
                <c:pt idx="2201">
                  <c:v>2.4708410446300233E-2</c:v>
                </c:pt>
                <c:pt idx="2202">
                  <c:v>2.7564378779532772E-2</c:v>
                </c:pt>
                <c:pt idx="2203">
                  <c:v>2.4499716572985109E-2</c:v>
                </c:pt>
                <c:pt idx="2204">
                  <c:v>2.0773803397720281E-2</c:v>
                </c:pt>
                <c:pt idx="2205">
                  <c:v>1.7106985507482353E-2</c:v>
                </c:pt>
                <c:pt idx="2206">
                  <c:v>1.7879722244970808E-2</c:v>
                </c:pt>
                <c:pt idx="2207">
                  <c:v>2.7785754001473428E-2</c:v>
                </c:pt>
                <c:pt idx="2208">
                  <c:v>1.4745862620122674E-2</c:v>
                </c:pt>
                <c:pt idx="2209">
                  <c:v>1.721917397469841E-2</c:v>
                </c:pt>
                <c:pt idx="2210">
                  <c:v>1.7944327244888147E-2</c:v>
                </c:pt>
                <c:pt idx="2211">
                  <c:v>8.986205206131137E-3</c:v>
                </c:pt>
                <c:pt idx="2212">
                  <c:v>7.709361502048484E-4</c:v>
                </c:pt>
                <c:pt idx="2213">
                  <c:v>7.6676419238329574E-3</c:v>
                </c:pt>
                <c:pt idx="2214">
                  <c:v>4.3586875597797503E-3</c:v>
                </c:pt>
                <c:pt idx="2215">
                  <c:v>-4.2257178455844535E-3</c:v>
                </c:pt>
                <c:pt idx="2216">
                  <c:v>-1.0536724135239983E-2</c:v>
                </c:pt>
                <c:pt idx="2217">
                  <c:v>-8.4813025463919001E-3</c:v>
                </c:pt>
                <c:pt idx="2218">
                  <c:v>-7.5714036446328237E-4</c:v>
                </c:pt>
                <c:pt idx="2219">
                  <c:v>1.1025563353921686E-2</c:v>
                </c:pt>
                <c:pt idx="2220">
                  <c:v>1.0771283027295686E-2</c:v>
                </c:pt>
                <c:pt idx="2221">
                  <c:v>1.6420557453052709E-2</c:v>
                </c:pt>
                <c:pt idx="2222">
                  <c:v>2.1883217017023671E-2</c:v>
                </c:pt>
                <c:pt idx="2223">
                  <c:v>1.9845482842228868E-2</c:v>
                </c:pt>
                <c:pt idx="2224">
                  <c:v>1.5361271490978989E-2</c:v>
                </c:pt>
                <c:pt idx="2225">
                  <c:v>-3.1155398567121573E-2</c:v>
                </c:pt>
                <c:pt idx="2226">
                  <c:v>-7.5933934777865586E-2</c:v>
                </c:pt>
                <c:pt idx="2227">
                  <c:v>-8.7713025701978919E-2</c:v>
                </c:pt>
                <c:pt idx="2228">
                  <c:v>-6.26681932705202E-2</c:v>
                </c:pt>
                <c:pt idx="2229">
                  <c:v>-9.2996425898135504E-2</c:v>
                </c:pt>
                <c:pt idx="2230">
                  <c:v>-3.3302097241008743E-2</c:v>
                </c:pt>
                <c:pt idx="2231">
                  <c:v>-7.4897837119758393E-3</c:v>
                </c:pt>
                <c:pt idx="2232">
                  <c:v>2.0432582156522328E-2</c:v>
                </c:pt>
                <c:pt idx="2233">
                  <c:v>3.702849757101867E-2</c:v>
                </c:pt>
                <c:pt idx="2234">
                  <c:v>0.19211340543485345</c:v>
                </c:pt>
                <c:pt idx="2235">
                  <c:v>0.20940580400222042</c:v>
                </c:pt>
                <c:pt idx="2236">
                  <c:v>0.21055194500230345</c:v>
                </c:pt>
                <c:pt idx="2237">
                  <c:v>0.1709927692111497</c:v>
                </c:pt>
                <c:pt idx="2238">
                  <c:v>0.12559005194325157</c:v>
                </c:pt>
                <c:pt idx="2239">
                  <c:v>0.1344379004549503</c:v>
                </c:pt>
                <c:pt idx="2240">
                  <c:v>0.15115881723017499</c:v>
                </c:pt>
                <c:pt idx="2241">
                  <c:v>0.13206800983563682</c:v>
                </c:pt>
                <c:pt idx="2242">
                  <c:v>0.12969368660935299</c:v>
                </c:pt>
                <c:pt idx="2243">
                  <c:v>0.15820890452222147</c:v>
                </c:pt>
                <c:pt idx="2244">
                  <c:v>0.25474127181467798</c:v>
                </c:pt>
                <c:pt idx="2245">
                  <c:v>0.20893361204763039</c:v>
                </c:pt>
                <c:pt idx="2246">
                  <c:v>0.23153243964478509</c:v>
                </c:pt>
                <c:pt idx="2247">
                  <c:v>0.28295908127019453</c:v>
                </c:pt>
                <c:pt idx="2248">
                  <c:v>0.37097085071597591</c:v>
                </c:pt>
                <c:pt idx="2249">
                  <c:v>0.32823330307419019</c:v>
                </c:pt>
                <c:pt idx="2250">
                  <c:v>0.39365874145778923</c:v>
                </c:pt>
                <c:pt idx="2251">
                  <c:v>0.35173201976728685</c:v>
                </c:pt>
                <c:pt idx="2252">
                  <c:v>0.39148504307084386</c:v>
                </c:pt>
                <c:pt idx="2253">
                  <c:v>0.41510275034392907</c:v>
                </c:pt>
                <c:pt idx="2254">
                  <c:v>0.42246337769318187</c:v>
                </c:pt>
                <c:pt idx="2255">
                  <c:v>0.35816115126943004</c:v>
                </c:pt>
                <c:pt idx="2256">
                  <c:v>0.48780533282711103</c:v>
                </c:pt>
                <c:pt idx="2257">
                  <c:v>0.57853448541896135</c:v>
                </c:pt>
                <c:pt idx="2258">
                  <c:v>0.57035996757682494</c:v>
                </c:pt>
                <c:pt idx="2259">
                  <c:v>0.5562552302496544</c:v>
                </c:pt>
                <c:pt idx="2260">
                  <c:v>0.48174976756810373</c:v>
                </c:pt>
                <c:pt idx="2261">
                  <c:v>0.42195157900351776</c:v>
                </c:pt>
                <c:pt idx="2262">
                  <c:v>0.41879105572699671</c:v>
                </c:pt>
                <c:pt idx="2263">
                  <c:v>0.49523868440899133</c:v>
                </c:pt>
                <c:pt idx="2264">
                  <c:v>0.53479274229642737</c:v>
                </c:pt>
                <c:pt idx="2265">
                  <c:v>0.69611446585197245</c:v>
                </c:pt>
                <c:pt idx="2266">
                  <c:v>0.58414809634116049</c:v>
                </c:pt>
                <c:pt idx="2267">
                  <c:v>0.83752147488812789</c:v>
                </c:pt>
                <c:pt idx="2268">
                  <c:v>0.89452833683515753</c:v>
                </c:pt>
                <c:pt idx="2269">
                  <c:v>1.008049888622885</c:v>
                </c:pt>
                <c:pt idx="2270">
                  <c:v>1.0579139661339361</c:v>
                </c:pt>
                <c:pt idx="2271">
                  <c:v>1.1140315489179315</c:v>
                </c:pt>
                <c:pt idx="2272">
                  <c:v>1.172060725869478</c:v>
                </c:pt>
                <c:pt idx="2273">
                  <c:v>1.154601134333374</c:v>
                </c:pt>
                <c:pt idx="2274">
                  <c:v>1.0254097965433806</c:v>
                </c:pt>
                <c:pt idx="2275">
                  <c:v>1.0541695654212424</c:v>
                </c:pt>
                <c:pt idx="2276">
                  <c:v>0.6445915892217069</c:v>
                </c:pt>
                <c:pt idx="2277">
                  <c:v>0.61126391591907736</c:v>
                </c:pt>
                <c:pt idx="2278">
                  <c:v>0.62845212730551725</c:v>
                </c:pt>
                <c:pt idx="2279">
                  <c:v>0.74581890852618993</c:v>
                </c:pt>
                <c:pt idx="2280">
                  <c:v>0.84032799214859355</c:v>
                </c:pt>
                <c:pt idx="2281">
                  <c:v>0.90995730698065702</c:v>
                </c:pt>
                <c:pt idx="2282">
                  <c:v>1.0084306276370103</c:v>
                </c:pt>
                <c:pt idx="2283">
                  <c:v>1.1758398651438007</c:v>
                </c:pt>
                <c:pt idx="2284">
                  <c:v>1.1765763255624513</c:v>
                </c:pt>
                <c:pt idx="2285">
                  <c:v>1.1592230492135591</c:v>
                </c:pt>
                <c:pt idx="2286">
                  <c:v>1.0503702339267658</c:v>
                </c:pt>
                <c:pt idx="2287">
                  <c:v>1.0007112262086995</c:v>
                </c:pt>
                <c:pt idx="2288">
                  <c:v>0.82441298356384141</c:v>
                </c:pt>
                <c:pt idx="2289">
                  <c:v>0.74830820679878474</c:v>
                </c:pt>
                <c:pt idx="2290">
                  <c:v>0.75147327470955072</c:v>
                </c:pt>
                <c:pt idx="2291">
                  <c:v>0.78715749878498964</c:v>
                </c:pt>
                <c:pt idx="2292">
                  <c:v>0.79766580958949329</c:v>
                </c:pt>
                <c:pt idx="2293">
                  <c:v>0.82243756274033752</c:v>
                </c:pt>
                <c:pt idx="2294">
                  <c:v>0.85608850455447327</c:v>
                </c:pt>
                <c:pt idx="2295">
                  <c:v>0.90451829417340934</c:v>
                </c:pt>
                <c:pt idx="2296">
                  <c:v>0.90520613392705296</c:v>
                </c:pt>
                <c:pt idx="2297">
                  <c:v>0.93025502083856249</c:v>
                </c:pt>
                <c:pt idx="2298">
                  <c:v>0.9439245408253949</c:v>
                </c:pt>
                <c:pt idx="2299">
                  <c:v>0.87492001765243788</c:v>
                </c:pt>
                <c:pt idx="2300">
                  <c:v>0.81208829922575698</c:v>
                </c:pt>
                <c:pt idx="2301">
                  <c:v>0.74593852737515465</c:v>
                </c:pt>
                <c:pt idx="2302">
                  <c:v>0.69061216691650773</c:v>
                </c:pt>
                <c:pt idx="2303">
                  <c:v>0.5843253837586484</c:v>
                </c:pt>
                <c:pt idx="2304">
                  <c:v>0.47515131554597434</c:v>
                </c:pt>
                <c:pt idx="2305">
                  <c:v>0.34102887589580244</c:v>
                </c:pt>
                <c:pt idx="2306">
                  <c:v>0.34558687355761175</c:v>
                </c:pt>
                <c:pt idx="2307">
                  <c:v>0.35106940337301107</c:v>
                </c:pt>
                <c:pt idx="2308">
                  <c:v>0.3539515159404274</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579</c:v>
                </c:pt>
                <c:pt idx="2317">
                  <c:v>0.23001398874009449</c:v>
                </c:pt>
                <c:pt idx="2318">
                  <c:v>0.20373525435135931</c:v>
                </c:pt>
                <c:pt idx="2319">
                  <c:v>0.16297728200725881</c:v>
                </c:pt>
                <c:pt idx="2320">
                  <c:v>0.11267573461605163</c:v>
                </c:pt>
                <c:pt idx="2321">
                  <c:v>-1.994199367492433E-2</c:v>
                </c:pt>
                <c:pt idx="2322">
                  <c:v>-1.9262799479448645E-2</c:v>
                </c:pt>
                <c:pt idx="2323">
                  <c:v>-2.088073898327325E-2</c:v>
                </c:pt>
                <c:pt idx="2324">
                  <c:v>-2.3334385732659002E-2</c:v>
                </c:pt>
                <c:pt idx="2325">
                  <c:v>-2.5707013099896758E-2</c:v>
                </c:pt>
                <c:pt idx="2326">
                  <c:v>-2.8629969544539224E-2</c:v>
                </c:pt>
                <c:pt idx="2327">
                  <c:v>-3.5316773963754322E-2</c:v>
                </c:pt>
                <c:pt idx="2328">
                  <c:v>-3.5897485687306108E-2</c:v>
                </c:pt>
                <c:pt idx="2329">
                  <c:v>-4.1545980480448663E-2</c:v>
                </c:pt>
                <c:pt idx="2330">
                  <c:v>-4.680165900954314E-2</c:v>
                </c:pt>
                <c:pt idx="2331">
                  <c:v>-4.7053592303010316E-2</c:v>
                </c:pt>
                <c:pt idx="2332">
                  <c:v>-4.1980018491099891E-2</c:v>
                </c:pt>
                <c:pt idx="2333">
                  <c:v>-3.3418730620596304E-2</c:v>
                </c:pt>
                <c:pt idx="2334">
                  <c:v>-3.3208539552726957E-2</c:v>
                </c:pt>
                <c:pt idx="2335">
                  <c:v>-3.2013669786313703E-2</c:v>
                </c:pt>
                <c:pt idx="2336">
                  <c:v>-2.8188022722637762E-2</c:v>
                </c:pt>
                <c:pt idx="2337">
                  <c:v>-3.2920795684834192E-2</c:v>
                </c:pt>
                <c:pt idx="2338">
                  <c:v>-2.5562725710990719E-2</c:v>
                </c:pt>
                <c:pt idx="2339">
                  <c:v>-2.4570743703751008E-2</c:v>
                </c:pt>
                <c:pt idx="2340">
                  <c:v>-2.5594533650382445E-2</c:v>
                </c:pt>
                <c:pt idx="2341">
                  <c:v>-2.4821415092848187E-2</c:v>
                </c:pt>
                <c:pt idx="2342">
                  <c:v>-2.1284446530579482E-2</c:v>
                </c:pt>
                <c:pt idx="2343">
                  <c:v>-2.9929351892261646E-2</c:v>
                </c:pt>
                <c:pt idx="2344">
                  <c:v>-2.3477735529587873E-2</c:v>
                </c:pt>
                <c:pt idx="2345">
                  <c:v>-1.6722339919721607E-2</c:v>
                </c:pt>
                <c:pt idx="2346">
                  <c:v>-1.8071247318035444E-2</c:v>
                </c:pt>
                <c:pt idx="2347">
                  <c:v>-2.1512903524180782E-2</c:v>
                </c:pt>
                <c:pt idx="2348">
                  <c:v>-3.916221744120163E-2</c:v>
                </c:pt>
                <c:pt idx="2349">
                  <c:v>-2.9463352620869521E-2</c:v>
                </c:pt>
                <c:pt idx="2350">
                  <c:v>-3.6574376125222186E-2</c:v>
                </c:pt>
                <c:pt idx="2351">
                  <c:v>-2.0766967676713044E-2</c:v>
                </c:pt>
                <c:pt idx="2352">
                  <c:v>-1.3098860392151801E-2</c:v>
                </c:pt>
                <c:pt idx="2353">
                  <c:v>-1.0010357340408338E-2</c:v>
                </c:pt>
                <c:pt idx="2354">
                  <c:v>-1.157734066558247E-2</c:v>
                </c:pt>
                <c:pt idx="2355">
                  <c:v>-1.0843015555905389E-2</c:v>
                </c:pt>
                <c:pt idx="2356">
                  <c:v>-8.8571825307534047E-3</c:v>
                </c:pt>
                <c:pt idx="2357">
                  <c:v>3.3657493562133656E-3</c:v>
                </c:pt>
                <c:pt idx="2358">
                  <c:v>1.2777546363049952E-2</c:v>
                </c:pt>
                <c:pt idx="2359">
                  <c:v>1.4026284536052258E-2</c:v>
                </c:pt>
                <c:pt idx="2360">
                  <c:v>2.0520219718686561E-2</c:v>
                </c:pt>
                <c:pt idx="2361">
                  <c:v>2.3495110651193252E-2</c:v>
                </c:pt>
                <c:pt idx="2362">
                  <c:v>3.0947824762285969E-2</c:v>
                </c:pt>
                <c:pt idx="2363">
                  <c:v>3.2125795633135557E-2</c:v>
                </c:pt>
                <c:pt idx="2364">
                  <c:v>3.1840561732821349E-2</c:v>
                </c:pt>
                <c:pt idx="2365">
                  <c:v>3.4059596912800361E-2</c:v>
                </c:pt>
                <c:pt idx="2366">
                  <c:v>2.854881418069144E-2</c:v>
                </c:pt>
                <c:pt idx="2367">
                  <c:v>1.5032851925994128E-2</c:v>
                </c:pt>
                <c:pt idx="2368">
                  <c:v>1.3802111760001012E-2</c:v>
                </c:pt>
                <c:pt idx="2369">
                  <c:v>1.9084365731172559E-2</c:v>
                </c:pt>
                <c:pt idx="2370">
                  <c:v>2.0134623300759769E-2</c:v>
                </c:pt>
                <c:pt idx="2371">
                  <c:v>1.8510695277591971E-2</c:v>
                </c:pt>
                <c:pt idx="2372">
                  <c:v>1.2221365192993439E-2</c:v>
                </c:pt>
                <c:pt idx="2373">
                  <c:v>1.6710495072438603E-2</c:v>
                </c:pt>
                <c:pt idx="2374">
                  <c:v>2.1593401486094121E-3</c:v>
                </c:pt>
                <c:pt idx="2375">
                  <c:v>2.7462209988168285E-3</c:v>
                </c:pt>
                <c:pt idx="2376">
                  <c:v>8.5437927441338601E-3</c:v>
                </c:pt>
                <c:pt idx="2377">
                  <c:v>2.3493063929056257E-2</c:v>
                </c:pt>
                <c:pt idx="2378">
                  <c:v>2.0157570616152087E-2</c:v>
                </c:pt>
                <c:pt idx="2379">
                  <c:v>1.8582653725090159E-2</c:v>
                </c:pt>
                <c:pt idx="2380">
                  <c:v>1.7487507797754209E-2</c:v>
                </c:pt>
                <c:pt idx="2381">
                  <c:v>1.2935795977501052E-2</c:v>
                </c:pt>
                <c:pt idx="2382">
                  <c:v>1.2350788559592707E-2</c:v>
                </c:pt>
                <c:pt idx="2383">
                  <c:v>1.238708025436297E-2</c:v>
                </c:pt>
                <c:pt idx="2384">
                  <c:v>1.7904655274363468E-2</c:v>
                </c:pt>
                <c:pt idx="2385">
                  <c:v>1.2303779072527776E-2</c:v>
                </c:pt>
                <c:pt idx="2386">
                  <c:v>1.8383320821948046E-2</c:v>
                </c:pt>
                <c:pt idx="2387">
                  <c:v>1.9113970929864443E-2</c:v>
                </c:pt>
                <c:pt idx="2388">
                  <c:v>2.5297800694529027E-2</c:v>
                </c:pt>
                <c:pt idx="2389">
                  <c:v>2.8800371573588279E-2</c:v>
                </c:pt>
                <c:pt idx="2390">
                  <c:v>3.3822001634343235E-2</c:v>
                </c:pt>
                <c:pt idx="2391">
                  <c:v>2.9714647554920814E-2</c:v>
                </c:pt>
                <c:pt idx="2392">
                  <c:v>1.9135359042453448E-2</c:v>
                </c:pt>
                <c:pt idx="2393">
                  <c:v>1.4380969491122109E-2</c:v>
                </c:pt>
                <c:pt idx="2394">
                  <c:v>1.331555078964064E-2</c:v>
                </c:pt>
                <c:pt idx="2395">
                  <c:v>5.7874593383963058E-3</c:v>
                </c:pt>
                <c:pt idx="2396">
                  <c:v>6.317091640622996E-3</c:v>
                </c:pt>
                <c:pt idx="2397">
                  <c:v>1.6670379770620802E-2</c:v>
                </c:pt>
                <c:pt idx="2398">
                  <c:v>1.893670395765279E-2</c:v>
                </c:pt>
                <c:pt idx="2399">
                  <c:v>1.310241586309524E-2</c:v>
                </c:pt>
                <c:pt idx="2400">
                  <c:v>1.328665657310335E-2</c:v>
                </c:pt>
                <c:pt idx="2401">
                  <c:v>1.8748129793962343E-2</c:v>
                </c:pt>
                <c:pt idx="2402">
                  <c:v>2.1383951852724681E-2</c:v>
                </c:pt>
                <c:pt idx="2403">
                  <c:v>2.552523896135972E-2</c:v>
                </c:pt>
                <c:pt idx="2404">
                  <c:v>3.5284381022945288E-2</c:v>
                </c:pt>
                <c:pt idx="2405">
                  <c:v>3.443518089058506E-2</c:v>
                </c:pt>
                <c:pt idx="2406">
                  <c:v>3.3187632604493866E-2</c:v>
                </c:pt>
                <c:pt idx="2407">
                  <c:v>2.1086031696546992E-2</c:v>
                </c:pt>
                <c:pt idx="2408">
                  <c:v>2.7392683883550206E-2</c:v>
                </c:pt>
                <c:pt idx="2409">
                  <c:v>2.999767790321417E-2</c:v>
                </c:pt>
                <c:pt idx="2410">
                  <c:v>3.000742325804906E-2</c:v>
                </c:pt>
                <c:pt idx="2411">
                  <c:v>2.4858559274467451E-2</c:v>
                </c:pt>
                <c:pt idx="2412">
                  <c:v>2.7280777696373826E-2</c:v>
                </c:pt>
                <c:pt idx="2413">
                  <c:v>2.2941241499992993E-2</c:v>
                </c:pt>
                <c:pt idx="2414">
                  <c:v>2.1734598014732986E-2</c:v>
                </c:pt>
                <c:pt idx="2415">
                  <c:v>1.8887364028980391E-2</c:v>
                </c:pt>
                <c:pt idx="2416">
                  <c:v>2.4231939975140171E-2</c:v>
                </c:pt>
                <c:pt idx="2417">
                  <c:v>1.5747966211845821E-2</c:v>
                </c:pt>
                <c:pt idx="2418">
                  <c:v>1.1367965516989709E-2</c:v>
                </c:pt>
                <c:pt idx="2419">
                  <c:v>5.9007454532707948E-3</c:v>
                </c:pt>
                <c:pt idx="2420">
                  <c:v>1.7673335432790704E-3</c:v>
                </c:pt>
                <c:pt idx="2421">
                  <c:v>3.4202637697620109E-3</c:v>
                </c:pt>
                <c:pt idx="2422">
                  <c:v>3.6311213926454311E-3</c:v>
                </c:pt>
                <c:pt idx="2423">
                  <c:v>7.6950311382290026E-3</c:v>
                </c:pt>
                <c:pt idx="2424">
                  <c:v>5.3646003427396671E-3</c:v>
                </c:pt>
                <c:pt idx="2425">
                  <c:v>8.4694302666756816E-3</c:v>
                </c:pt>
                <c:pt idx="2426">
                  <c:v>1.738889610778982E-2</c:v>
                </c:pt>
                <c:pt idx="2427">
                  <c:v>1.7844886164418483E-2</c:v>
                </c:pt>
                <c:pt idx="2428">
                  <c:v>1.3959428221664627E-2</c:v>
                </c:pt>
                <c:pt idx="2429">
                  <c:v>1.891851589758986E-2</c:v>
                </c:pt>
                <c:pt idx="2430">
                  <c:v>2.1540093114251646E-2</c:v>
                </c:pt>
                <c:pt idx="2431">
                  <c:v>1.5593319719312937E-2</c:v>
                </c:pt>
                <c:pt idx="2432">
                  <c:v>1.5603007655408951E-2</c:v>
                </c:pt>
                <c:pt idx="2433">
                  <c:v>1.0840991306240888E-2</c:v>
                </c:pt>
                <c:pt idx="2434">
                  <c:v>6.4208586943395041E-3</c:v>
                </c:pt>
                <c:pt idx="2435">
                  <c:v>8.2999368446849964E-3</c:v>
                </c:pt>
                <c:pt idx="2436">
                  <c:v>1.3737429481051389E-2</c:v>
                </c:pt>
                <c:pt idx="2437">
                  <c:v>1.8346372382832044E-2</c:v>
                </c:pt>
                <c:pt idx="2438">
                  <c:v>2.5099991641088282E-2</c:v>
                </c:pt>
                <c:pt idx="2439">
                  <c:v>1.6691752853287001E-2</c:v>
                </c:pt>
                <c:pt idx="2440">
                  <c:v>1.6915013673647006E-2</c:v>
                </c:pt>
                <c:pt idx="2441">
                  <c:v>2.0008686722376712E-2</c:v>
                </c:pt>
                <c:pt idx="2442">
                  <c:v>2.2558057351180827E-2</c:v>
                </c:pt>
                <c:pt idx="2443">
                  <c:v>2.1807082251280419E-2</c:v>
                </c:pt>
                <c:pt idx="2444">
                  <c:v>1.074121550214624E-2</c:v>
                </c:pt>
                <c:pt idx="2445">
                  <c:v>4.5962016282235119E-2</c:v>
                </c:pt>
                <c:pt idx="2446">
                  <c:v>4.8179961089426793E-2</c:v>
                </c:pt>
                <c:pt idx="2447">
                  <c:v>6.2535075816724461E-2</c:v>
                </c:pt>
                <c:pt idx="2448">
                  <c:v>8.0397053514648986E-2</c:v>
                </c:pt>
                <c:pt idx="2449">
                  <c:v>8.2661565406263682E-2</c:v>
                </c:pt>
                <c:pt idx="2450">
                  <c:v>8.5108860093112804E-2</c:v>
                </c:pt>
                <c:pt idx="2451">
                  <c:v>2.0219799515206249E-2</c:v>
                </c:pt>
              </c:numCache>
            </c:numRef>
          </c:val>
          <c:smooth val="0"/>
          <c:extLst>
            <c:ext xmlns:c16="http://schemas.microsoft.com/office/drawing/2014/chart" uri="{C3380CC4-5D6E-409C-BE32-E72D297353CC}">
              <c16:uniqueId val="{00000003-AE0D-4B0D-9F2C-AA99D86A6132}"/>
            </c:ext>
          </c:extLst>
        </c:ser>
        <c:dLbls>
          <c:showLegendKey val="0"/>
          <c:showVal val="0"/>
          <c:showCatName val="0"/>
          <c:showSerName val="0"/>
          <c:showPercent val="0"/>
          <c:showBubbleSize val="0"/>
        </c:dLbls>
        <c:marker val="1"/>
        <c:smooth val="0"/>
        <c:axId val="180501296"/>
        <c:axId val="180502544"/>
      </c:lineChart>
      <c:catAx>
        <c:axId val="1752123280"/>
        <c:scaling>
          <c:orientation val="minMax"/>
        </c:scaling>
        <c:delete val="0"/>
        <c:axPos val="b"/>
        <c:numFmt formatCode="#,##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2125360"/>
        <c:crosses val="autoZero"/>
        <c:auto val="0"/>
        <c:lblAlgn val="ctr"/>
        <c:lblOffset val="100"/>
        <c:noMultiLvlLbl val="0"/>
      </c:catAx>
      <c:valAx>
        <c:axId val="175212536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2123280"/>
        <c:crosses val="autoZero"/>
        <c:crossBetween val="between"/>
      </c:valAx>
      <c:valAx>
        <c:axId val="180502544"/>
        <c:scaling>
          <c:orientation val="minMax"/>
          <c:min val="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501296"/>
        <c:crosses val="max"/>
        <c:crossBetween val="between"/>
      </c:valAx>
      <c:dateAx>
        <c:axId val="180501296"/>
        <c:scaling>
          <c:orientation val="minMax"/>
        </c:scaling>
        <c:delete val="1"/>
        <c:axPos val="b"/>
        <c:numFmt formatCode="m/d/yyyy\ h:mm" sourceLinked="1"/>
        <c:majorTickMark val="out"/>
        <c:minorTickMark val="none"/>
        <c:tickLblPos val="nextTo"/>
        <c:crossAx val="180502544"/>
        <c:crosses val="autoZero"/>
        <c:auto val="1"/>
        <c:lblOffset val="100"/>
        <c:baseTimeUnit val="days"/>
      </c:date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Coefficient Pump Failure (1 or 0) - Rolling Stand</a:t>
            </a:r>
            <a:r>
              <a:rPr lang="en-US" baseline="0"/>
              <a:t>ard Deviation (30 Minut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X$52</c:f>
              <c:strCache>
                <c:ptCount val="1"/>
                <c:pt idx="0">
                  <c:v>Correlation Coefficient</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3A-43C8-8F04-A74F01CD2250}"/>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3A-43C8-8F04-A74F01CD2250}"/>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3A-43C8-8F04-A74F01CD2250}"/>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3A-43C8-8F04-A74F01CD2250}"/>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03A-43C8-8F04-A74F01CD2250}"/>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03A-43C8-8F04-A74F01CD2250}"/>
                </c:ext>
              </c:extLst>
            </c:dLbl>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03A-43C8-8F04-A74F01CD225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53:$W$59</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53:$X$59</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7-203A-43C8-8F04-A74F01CD2250}"/>
            </c:ext>
          </c:extLst>
        </c:ser>
        <c:dLbls>
          <c:showLegendKey val="0"/>
          <c:showVal val="0"/>
          <c:showCatName val="0"/>
          <c:showSerName val="0"/>
          <c:showPercent val="0"/>
          <c:showBubbleSize val="0"/>
        </c:dLbls>
        <c:gapWidth val="219"/>
        <c:overlap val="-27"/>
        <c:axId val="180497136"/>
        <c:axId val="180504208"/>
      </c:barChart>
      <c:catAx>
        <c:axId val="1804971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504208"/>
        <c:crosses val="autoZero"/>
        <c:auto val="1"/>
        <c:lblAlgn val="ctr"/>
        <c:lblOffset val="100"/>
        <c:noMultiLvlLbl val="0"/>
      </c:catAx>
      <c:valAx>
        <c:axId val="180504208"/>
        <c:scaling>
          <c:orientation val="minMax"/>
          <c:max val="0.8"/>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4971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RT Rolling Standard Deviation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C$2:$C$2453</c:f>
              <c:numCache>
                <c:formatCode>#,##0.00</c:formatCode>
                <c:ptCount val="2400"/>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21.319161056686053</c:v>
                </c:pt>
                <c:pt idx="2254">
                  <c:v>21.394007636686972</c:v>
                </c:pt>
                <c:pt idx="2255">
                  <c:v>21.376028425887899</c:v>
                </c:pt>
                <c:pt idx="2256">
                  <c:v>21.23551201583593</c:v>
                </c:pt>
                <c:pt idx="2257">
                  <c:v>20.940242193046572</c:v>
                </c:pt>
                <c:pt idx="2258">
                  <c:v>20.593466514976246</c:v>
                </c:pt>
                <c:pt idx="2259">
                  <c:v>20.113883022178602</c:v>
                </c:pt>
                <c:pt idx="2260">
                  <c:v>19.554898272217663</c:v>
                </c:pt>
                <c:pt idx="2261">
                  <c:v>18.853029342848288</c:v>
                </c:pt>
                <c:pt idx="2262">
                  <c:v>18.038093025594463</c:v>
                </c:pt>
                <c:pt idx="2263">
                  <c:v>17.041628746831311</c:v>
                </c:pt>
                <c:pt idx="2264">
                  <c:v>15.8658892727068</c:v>
                </c:pt>
                <c:pt idx="2265">
                  <c:v>14.486596107492231</c:v>
                </c:pt>
                <c:pt idx="2266">
                  <c:v>12.804143909858549</c:v>
                </c:pt>
                <c:pt idx="2267">
                  <c:v>10.65550775501762</c:v>
                </c:pt>
                <c:pt idx="2268">
                  <c:v>7.7073688355894703</c:v>
                </c:pt>
                <c:pt idx="2269">
                  <c:v>1.1718565680542794</c:v>
                </c:pt>
                <c:pt idx="2270">
                  <c:v>1.15533987635027</c:v>
                </c:pt>
                <c:pt idx="2271">
                  <c:v>1.1613535503736654</c:v>
                </c:pt>
                <c:pt idx="2272">
                  <c:v>1.1622382785349801</c:v>
                </c:pt>
                <c:pt idx="2273">
                  <c:v>1.1432937394705898</c:v>
                </c:pt>
                <c:pt idx="2274">
                  <c:v>1.1984539849418452</c:v>
                </c:pt>
                <c:pt idx="2275">
                  <c:v>1.1308584878490455</c:v>
                </c:pt>
                <c:pt idx="2276">
                  <c:v>1.1503693060186735</c:v>
                </c:pt>
                <c:pt idx="2277">
                  <c:v>1.1767227527253852</c:v>
                </c:pt>
                <c:pt idx="2278">
                  <c:v>1.1982595136567726</c:v>
                </c:pt>
                <c:pt idx="2279">
                  <c:v>1.1588058161487751</c:v>
                </c:pt>
                <c:pt idx="2280">
                  <c:v>1.2014770603040164</c:v>
                </c:pt>
                <c:pt idx="2281">
                  <c:v>1.1574315600034211</c:v>
                </c:pt>
                <c:pt idx="2282">
                  <c:v>1.1526682688141603</c:v>
                </c:pt>
                <c:pt idx="2283">
                  <c:v>1.0884304844776393</c:v>
                </c:pt>
                <c:pt idx="2284">
                  <c:v>1.0886260981664893</c:v>
                </c:pt>
                <c:pt idx="2285">
                  <c:v>1.0727727528746913</c:v>
                </c:pt>
                <c:pt idx="2286">
                  <c:v>1.0832870900828775</c:v>
                </c:pt>
                <c:pt idx="2287">
                  <c:v>1.1398237411633163</c:v>
                </c:pt>
                <c:pt idx="2288">
                  <c:v>1.1552857535751886</c:v>
                </c:pt>
                <c:pt idx="2289">
                  <c:v>1.145813769947934</c:v>
                </c:pt>
                <c:pt idx="2290">
                  <c:v>1.1435273117174227</c:v>
                </c:pt>
                <c:pt idx="2291">
                  <c:v>1.1615754758976682</c:v>
                </c:pt>
                <c:pt idx="2292">
                  <c:v>1.2386442811285296</c:v>
                </c:pt>
                <c:pt idx="2293">
                  <c:v>1.2207789580295914</c:v>
                </c:pt>
                <c:pt idx="2294">
                  <c:v>1.2040852396603052</c:v>
                </c:pt>
                <c:pt idx="2295">
                  <c:v>1.21180097755176</c:v>
                </c:pt>
                <c:pt idx="2296">
                  <c:v>1.2702035767690074</c:v>
                </c:pt>
                <c:pt idx="2297">
                  <c:v>1.2435804814297711</c:v>
                </c:pt>
                <c:pt idx="2298">
                  <c:v>1.2722169987679071</c:v>
                </c:pt>
                <c:pt idx="2299">
                  <c:v>1.2960501001384797</c:v>
                </c:pt>
                <c:pt idx="2300">
                  <c:v>1.3119249698198365</c:v>
                </c:pt>
                <c:pt idx="2301">
                  <c:v>1.3163081426614285</c:v>
                </c:pt>
                <c:pt idx="2302">
                  <c:v>1.3431085919072854</c:v>
                </c:pt>
                <c:pt idx="2303">
                  <c:v>1.3515204294661498</c:v>
                </c:pt>
                <c:pt idx="2304">
                  <c:v>1.3478413989715581</c:v>
                </c:pt>
                <c:pt idx="2305">
                  <c:v>1.392895107899081</c:v>
                </c:pt>
                <c:pt idx="2306">
                  <c:v>1.3815174066321365</c:v>
                </c:pt>
                <c:pt idx="2307">
                  <c:v>1.3815270994217881</c:v>
                </c:pt>
                <c:pt idx="2308">
                  <c:v>1.3621747318167363</c:v>
                </c:pt>
                <c:pt idx="2309">
                  <c:v>1.3181029994812155</c:v>
                </c:pt>
                <c:pt idx="2310">
                  <c:v>1.3048410745700239</c:v>
                </c:pt>
                <c:pt idx="2311">
                  <c:v>1.3136181498739115</c:v>
                </c:pt>
                <c:pt idx="2312">
                  <c:v>1.2952552227086442</c:v>
                </c:pt>
                <c:pt idx="2313">
                  <c:v>1.3084903998259898</c:v>
                </c:pt>
                <c:pt idx="2314">
                  <c:v>1.28652521406958</c:v>
                </c:pt>
                <c:pt idx="2315">
                  <c:v>1.2512336900541137</c:v>
                </c:pt>
                <c:pt idx="2316">
                  <c:v>1.2555982225822564</c:v>
                </c:pt>
                <c:pt idx="2317">
                  <c:v>1.2284246523237716</c:v>
                </c:pt>
                <c:pt idx="2318">
                  <c:v>1.1923923600182464</c:v>
                </c:pt>
                <c:pt idx="2319">
                  <c:v>1.2319353991123903</c:v>
                </c:pt>
                <c:pt idx="2320">
                  <c:v>1.2254377120877642</c:v>
                </c:pt>
                <c:pt idx="2321">
                  <c:v>1.2592024934617259</c:v>
                </c:pt>
                <c:pt idx="2322">
                  <c:v>1.2110347053124701</c:v>
                </c:pt>
                <c:pt idx="2323">
                  <c:v>1.2543268103355021</c:v>
                </c:pt>
                <c:pt idx="2324">
                  <c:v>1.2608173320618588</c:v>
                </c:pt>
                <c:pt idx="2325">
                  <c:v>1.2836749060287085</c:v>
                </c:pt>
                <c:pt idx="2326">
                  <c:v>1.2394297910315653</c:v>
                </c:pt>
                <c:pt idx="2327">
                  <c:v>1.2370638207270155</c:v>
                </c:pt>
                <c:pt idx="2328">
                  <c:v>1.2028252182869812</c:v>
                </c:pt>
                <c:pt idx="2329">
                  <c:v>1.1785635129355509</c:v>
                </c:pt>
                <c:pt idx="2330">
                  <c:v>1.1397170953667679</c:v>
                </c:pt>
                <c:pt idx="2331">
                  <c:v>1.1124180972046904</c:v>
                </c:pt>
                <c:pt idx="2332">
                  <c:v>1.0975896266390939</c:v>
                </c:pt>
                <c:pt idx="2333">
                  <c:v>1.0724598966325296</c:v>
                </c:pt>
                <c:pt idx="2334">
                  <c:v>1.0340124390634426</c:v>
                </c:pt>
                <c:pt idx="2335">
                  <c:v>0.9995203447355282</c:v>
                </c:pt>
                <c:pt idx="2336">
                  <c:v>1.0499974822082565</c:v>
                </c:pt>
                <c:pt idx="2337">
                  <c:v>1.0875838453607405</c:v>
                </c:pt>
                <c:pt idx="2338">
                  <c:v>1.1243540163235906</c:v>
                </c:pt>
                <c:pt idx="2339">
                  <c:v>1.1182386087981833</c:v>
                </c:pt>
                <c:pt idx="2340">
                  <c:v>1.0836212703113872</c:v>
                </c:pt>
                <c:pt idx="2341">
                  <c:v>1.0739625306505716</c:v>
                </c:pt>
                <c:pt idx="2342">
                  <c:v>1.096740258859088</c:v>
                </c:pt>
                <c:pt idx="2343">
                  <c:v>1.0786060075580104</c:v>
                </c:pt>
                <c:pt idx="2344">
                  <c:v>1.082872138789025</c:v>
                </c:pt>
                <c:pt idx="2345">
                  <c:v>1.0750709145281383</c:v>
                </c:pt>
                <c:pt idx="2346">
                  <c:v>1.1133282916810616</c:v>
                </c:pt>
                <c:pt idx="2347">
                  <c:v>1.1057176896456897</c:v>
                </c:pt>
                <c:pt idx="2348">
                  <c:v>1.1169832627194565</c:v>
                </c:pt>
                <c:pt idx="2349">
                  <c:v>1.0571643376417921</c:v>
                </c:pt>
                <c:pt idx="2350">
                  <c:v>1.0667109724993808</c:v>
                </c:pt>
                <c:pt idx="2351">
                  <c:v>1.0171752637777718</c:v>
                </c:pt>
                <c:pt idx="2352">
                  <c:v>1.015595912492397</c:v>
                </c:pt>
                <c:pt idx="2353">
                  <c:v>1.0230917757509317</c:v>
                </c:pt>
                <c:pt idx="2354">
                  <c:v>1.0287236260777597</c:v>
                </c:pt>
                <c:pt idx="2355">
                  <c:v>0.99732377523233529</c:v>
                </c:pt>
                <c:pt idx="2356">
                  <c:v>0.99549998989706545</c:v>
                </c:pt>
                <c:pt idx="2357">
                  <c:v>1.019849493065397</c:v>
                </c:pt>
                <c:pt idx="2358">
                  <c:v>1.0219774048832753</c:v>
                </c:pt>
                <c:pt idx="2359">
                  <c:v>1.0295929337342025</c:v>
                </c:pt>
                <c:pt idx="2360">
                  <c:v>1.0431958522765017</c:v>
                </c:pt>
                <c:pt idx="2361">
                  <c:v>1.02919279830941</c:v>
                </c:pt>
                <c:pt idx="2362">
                  <c:v>1.0176576666231043</c:v>
                </c:pt>
                <c:pt idx="2363">
                  <c:v>0.98305411972019663</c:v>
                </c:pt>
                <c:pt idx="2364">
                  <c:v>1.0239643492357278</c:v>
                </c:pt>
                <c:pt idx="2365">
                  <c:v>1.053662250406189</c:v>
                </c:pt>
                <c:pt idx="2366">
                  <c:v>1.0192253086953136</c:v>
                </c:pt>
                <c:pt idx="2367">
                  <c:v>0.99778006467921776</c:v>
                </c:pt>
                <c:pt idx="2368">
                  <c:v>0.95707342468061696</c:v>
                </c:pt>
                <c:pt idx="2369">
                  <c:v>0.99371796919390065</c:v>
                </c:pt>
                <c:pt idx="2370">
                  <c:v>1.0312619765936373</c:v>
                </c:pt>
                <c:pt idx="2371">
                  <c:v>1.0258133302437371</c:v>
                </c:pt>
                <c:pt idx="2372">
                  <c:v>1.022586790371538</c:v>
                </c:pt>
                <c:pt idx="2373">
                  <c:v>1.0389432971068124</c:v>
                </c:pt>
                <c:pt idx="2374">
                  <c:v>1.0391751056895562</c:v>
                </c:pt>
                <c:pt idx="2375">
                  <c:v>1.057892244040006</c:v>
                </c:pt>
                <c:pt idx="2376">
                  <c:v>1.0243131031736992</c:v>
                </c:pt>
                <c:pt idx="2377">
                  <c:v>1.0304241423042642</c:v>
                </c:pt>
                <c:pt idx="2378">
                  <c:v>1.0335020475129397</c:v>
                </c:pt>
                <c:pt idx="2379">
                  <c:v>1.0524072590784612</c:v>
                </c:pt>
                <c:pt idx="2380">
                  <c:v>1.0646812623861615</c:v>
                </c:pt>
                <c:pt idx="2381">
                  <c:v>1.0894933636666559</c:v>
                </c:pt>
                <c:pt idx="2382">
                  <c:v>1.1189199575237854</c:v>
                </c:pt>
                <c:pt idx="2383">
                  <c:v>1.0598458390796182</c:v>
                </c:pt>
                <c:pt idx="2384">
                  <c:v>1.0626378803270109</c:v>
                </c:pt>
                <c:pt idx="2385">
                  <c:v>1.0888457190989</c:v>
                </c:pt>
                <c:pt idx="2386">
                  <c:v>1.0829435196106338</c:v>
                </c:pt>
                <c:pt idx="2387">
                  <c:v>1.0921148452268359</c:v>
                </c:pt>
                <c:pt idx="2388">
                  <c:v>1.1360491592830357</c:v>
                </c:pt>
                <c:pt idx="2389">
                  <c:v>1.1753229730202208</c:v>
                </c:pt>
                <c:pt idx="2390">
                  <c:v>1.1791969532463416</c:v>
                </c:pt>
                <c:pt idx="2391">
                  <c:v>1.242426389502949</c:v>
                </c:pt>
                <c:pt idx="2392">
                  <c:v>1.2199601541762657</c:v>
                </c:pt>
                <c:pt idx="2393">
                  <c:v>1.2694817559033407</c:v>
                </c:pt>
                <c:pt idx="2394">
                  <c:v>1.3135701986063273</c:v>
                </c:pt>
                <c:pt idx="2395">
                  <c:v>1.3571551127266184</c:v>
                </c:pt>
                <c:pt idx="2396">
                  <c:v>1.50985098602478</c:v>
                </c:pt>
                <c:pt idx="2397">
                  <c:v>1.5650851946992108</c:v>
                </c:pt>
                <c:pt idx="2398">
                  <c:v>1.7643790220169056</c:v>
                </c:pt>
                <c:pt idx="2399">
                  <c:v>0.38183766184073509</c:v>
                </c:pt>
              </c:numCache>
            </c:numRef>
          </c:val>
          <c:smooth val="0"/>
          <c:extLst>
            <c:ext xmlns:c16="http://schemas.microsoft.com/office/drawing/2014/chart" uri="{C3380CC4-5D6E-409C-BE32-E72D297353CC}">
              <c16:uniqueId val="{00000000-6066-4228-9FF0-52A0157C53BA}"/>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D$2:$D$2453</c:f>
              <c:numCache>
                <c:formatCode>#,##0.00</c:formatCode>
                <c:ptCount val="2400"/>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21.52995898261544</c:v>
                </c:pt>
                <c:pt idx="2254">
                  <c:v>21.528354414425255</c:v>
                </c:pt>
                <c:pt idx="2255">
                  <c:v>21.443528137074761</c:v>
                </c:pt>
                <c:pt idx="2256">
                  <c:v>21.305426660182462</c:v>
                </c:pt>
                <c:pt idx="2257">
                  <c:v>21.038157137618455</c:v>
                </c:pt>
                <c:pt idx="2258">
                  <c:v>20.671367584562269</c:v>
                </c:pt>
                <c:pt idx="2259">
                  <c:v>20.221359564670177</c:v>
                </c:pt>
                <c:pt idx="2260">
                  <c:v>19.629015281453626</c:v>
                </c:pt>
                <c:pt idx="2261">
                  <c:v>18.93312307941375</c:v>
                </c:pt>
                <c:pt idx="2262">
                  <c:v>18.115783998631059</c:v>
                </c:pt>
                <c:pt idx="2263">
                  <c:v>17.15104495325301</c:v>
                </c:pt>
                <c:pt idx="2264">
                  <c:v>15.959624862355829</c:v>
                </c:pt>
                <c:pt idx="2265">
                  <c:v>14.545972543676116</c:v>
                </c:pt>
                <c:pt idx="2266">
                  <c:v>12.829736601519464</c:v>
                </c:pt>
                <c:pt idx="2267">
                  <c:v>10.680124175953836</c:v>
                </c:pt>
                <c:pt idx="2268">
                  <c:v>7.7304349181006113</c:v>
                </c:pt>
                <c:pt idx="2269">
                  <c:v>1.1142826154645131</c:v>
                </c:pt>
                <c:pt idx="2270">
                  <c:v>1.1053540026907067</c:v>
                </c:pt>
                <c:pt idx="2271">
                  <c:v>1.1107118976315278</c:v>
                </c:pt>
                <c:pt idx="2272">
                  <c:v>1.1264606864693143</c:v>
                </c:pt>
                <c:pt idx="2273">
                  <c:v>1.1381992735048183</c:v>
                </c:pt>
                <c:pt idx="2274">
                  <c:v>1.135744021669769</c:v>
                </c:pt>
                <c:pt idx="2275">
                  <c:v>1.1323871642045276</c:v>
                </c:pt>
                <c:pt idx="2276">
                  <c:v>1.1073967090723937</c:v>
                </c:pt>
                <c:pt idx="2277">
                  <c:v>1.1064658971740591</c:v>
                </c:pt>
                <c:pt idx="2278">
                  <c:v>1.1434261883811572</c:v>
                </c:pt>
                <c:pt idx="2279">
                  <c:v>1.1688525171708157</c:v>
                </c:pt>
                <c:pt idx="2280">
                  <c:v>1.1876395985701866</c:v>
                </c:pt>
                <c:pt idx="2281">
                  <c:v>1.173613145841488</c:v>
                </c:pt>
                <c:pt idx="2282">
                  <c:v>1.1345627544028407</c:v>
                </c:pt>
                <c:pt idx="2283">
                  <c:v>1.0821107513378281</c:v>
                </c:pt>
                <c:pt idx="2284">
                  <c:v>1.0703616318742488</c:v>
                </c:pt>
                <c:pt idx="2285">
                  <c:v>1.1198389149347765</c:v>
                </c:pt>
                <c:pt idx="2286">
                  <c:v>1.1336128796549283</c:v>
                </c:pt>
                <c:pt idx="2287">
                  <c:v>1.1745974610062369</c:v>
                </c:pt>
                <c:pt idx="2288">
                  <c:v>1.2161065156766755</c:v>
                </c:pt>
                <c:pt idx="2289">
                  <c:v>1.2596899819299638</c:v>
                </c:pt>
                <c:pt idx="2290">
                  <c:v>1.2383901767557173</c:v>
                </c:pt>
                <c:pt idx="2291">
                  <c:v>1.2761470386941371</c:v>
                </c:pt>
                <c:pt idx="2292">
                  <c:v>1.2864439090121582</c:v>
                </c:pt>
                <c:pt idx="2293">
                  <c:v>1.3058633907887527</c:v>
                </c:pt>
                <c:pt idx="2294">
                  <c:v>1.2785730192356011</c:v>
                </c:pt>
                <c:pt idx="2295">
                  <c:v>1.2755920869987365</c:v>
                </c:pt>
                <c:pt idx="2296">
                  <c:v>1.2256100521780977</c:v>
                </c:pt>
                <c:pt idx="2297">
                  <c:v>1.2664680273768523</c:v>
                </c:pt>
                <c:pt idx="2298">
                  <c:v>1.2601286195984258</c:v>
                </c:pt>
                <c:pt idx="2299">
                  <c:v>1.256858700532183</c:v>
                </c:pt>
                <c:pt idx="2300">
                  <c:v>1.2669374786123597</c:v>
                </c:pt>
                <c:pt idx="2301">
                  <c:v>1.2704648438820454</c:v>
                </c:pt>
                <c:pt idx="2302">
                  <c:v>1.2653633343099882</c:v>
                </c:pt>
                <c:pt idx="2303">
                  <c:v>1.2556863306254233</c:v>
                </c:pt>
                <c:pt idx="2304">
                  <c:v>1.2544825832685511</c:v>
                </c:pt>
                <c:pt idx="2305">
                  <c:v>1.240886038651229</c:v>
                </c:pt>
                <c:pt idx="2306">
                  <c:v>1.2279653295491337</c:v>
                </c:pt>
                <c:pt idx="2307">
                  <c:v>1.2698368073265867</c:v>
                </c:pt>
                <c:pt idx="2308">
                  <c:v>1.2299696753574252</c:v>
                </c:pt>
                <c:pt idx="2309">
                  <c:v>1.1933821347499003</c:v>
                </c:pt>
                <c:pt idx="2310">
                  <c:v>1.1837227463514775</c:v>
                </c:pt>
                <c:pt idx="2311">
                  <c:v>1.2038264662813902</c:v>
                </c:pt>
                <c:pt idx="2312">
                  <c:v>1.1983141414542327</c:v>
                </c:pt>
                <c:pt idx="2313">
                  <c:v>1.2002607475332032</c:v>
                </c:pt>
                <c:pt idx="2314">
                  <c:v>1.2247131496193604</c:v>
                </c:pt>
                <c:pt idx="2315">
                  <c:v>1.1817058097046211</c:v>
                </c:pt>
                <c:pt idx="2316">
                  <c:v>1.1881191549826899</c:v>
                </c:pt>
                <c:pt idx="2317">
                  <c:v>1.1365600954523747</c:v>
                </c:pt>
                <c:pt idx="2318">
                  <c:v>1.1580795140747195</c:v>
                </c:pt>
                <c:pt idx="2319">
                  <c:v>1.1614792391551836</c:v>
                </c:pt>
                <c:pt idx="2320">
                  <c:v>1.1841724400677844</c:v>
                </c:pt>
                <c:pt idx="2321">
                  <c:v>1.1719219404391901</c:v>
                </c:pt>
                <c:pt idx="2322">
                  <c:v>1.1742692029170905</c:v>
                </c:pt>
                <c:pt idx="2323">
                  <c:v>1.1516595222427559</c:v>
                </c:pt>
                <c:pt idx="2324">
                  <c:v>1.1739274880189303</c:v>
                </c:pt>
                <c:pt idx="2325">
                  <c:v>1.1950118548923829</c:v>
                </c:pt>
                <c:pt idx="2326">
                  <c:v>1.1999279671866898</c:v>
                </c:pt>
                <c:pt idx="2327">
                  <c:v>1.1946134372121453</c:v>
                </c:pt>
                <c:pt idx="2328">
                  <c:v>1.235895552258343</c:v>
                </c:pt>
                <c:pt idx="2329">
                  <c:v>1.2526323547202325</c:v>
                </c:pt>
                <c:pt idx="2330">
                  <c:v>1.2337746958014664</c:v>
                </c:pt>
                <c:pt idx="2331">
                  <c:v>1.2276624362874609</c:v>
                </c:pt>
                <c:pt idx="2332">
                  <c:v>1.2249267395405243</c:v>
                </c:pt>
                <c:pt idx="2333">
                  <c:v>1.2083342766544078</c:v>
                </c:pt>
                <c:pt idx="2334">
                  <c:v>1.1953948513251647</c:v>
                </c:pt>
                <c:pt idx="2335">
                  <c:v>1.2286070984244113</c:v>
                </c:pt>
                <c:pt idx="2336">
                  <c:v>1.2269916486052899</c:v>
                </c:pt>
                <c:pt idx="2337">
                  <c:v>1.1641882870979647</c:v>
                </c:pt>
                <c:pt idx="2338">
                  <c:v>1.1837998432866588</c:v>
                </c:pt>
                <c:pt idx="2339">
                  <c:v>1.1755636456855372</c:v>
                </c:pt>
                <c:pt idx="2340">
                  <c:v>1.1845744179764051</c:v>
                </c:pt>
                <c:pt idx="2341">
                  <c:v>1.1705640648358628</c:v>
                </c:pt>
                <c:pt idx="2342">
                  <c:v>1.1688335869673616</c:v>
                </c:pt>
                <c:pt idx="2343">
                  <c:v>1.1662700146734619</c:v>
                </c:pt>
                <c:pt idx="2344">
                  <c:v>1.1427532793526629</c:v>
                </c:pt>
                <c:pt idx="2345">
                  <c:v>1.2032504349450293</c:v>
                </c:pt>
                <c:pt idx="2346">
                  <c:v>1.1879508097715081</c:v>
                </c:pt>
                <c:pt idx="2347">
                  <c:v>1.1774763584516863</c:v>
                </c:pt>
                <c:pt idx="2348">
                  <c:v>1.1433355618087595</c:v>
                </c:pt>
                <c:pt idx="2349">
                  <c:v>1.1537224112839493</c:v>
                </c:pt>
                <c:pt idx="2350">
                  <c:v>1.1323600113931516</c:v>
                </c:pt>
                <c:pt idx="2351">
                  <c:v>1.1429675028817214</c:v>
                </c:pt>
                <c:pt idx="2352">
                  <c:v>1.1155888605338107</c:v>
                </c:pt>
                <c:pt idx="2353">
                  <c:v>1.1029440227143801</c:v>
                </c:pt>
                <c:pt idx="2354">
                  <c:v>1.0807370835120633</c:v>
                </c:pt>
                <c:pt idx="2355">
                  <c:v>1.0416364225494463</c:v>
                </c:pt>
                <c:pt idx="2356">
                  <c:v>1.0543765385560655</c:v>
                </c:pt>
                <c:pt idx="2357">
                  <c:v>1.0143069090502763</c:v>
                </c:pt>
                <c:pt idx="2358">
                  <c:v>0.97593344647779212</c:v>
                </c:pt>
                <c:pt idx="2359">
                  <c:v>0.9401347421159012</c:v>
                </c:pt>
                <c:pt idx="2360">
                  <c:v>0.96274655000172749</c:v>
                </c:pt>
                <c:pt idx="2361">
                  <c:v>0.97373200778679592</c:v>
                </c:pt>
                <c:pt idx="2362">
                  <c:v>0.92862925801989116</c:v>
                </c:pt>
                <c:pt idx="2363">
                  <c:v>0.93191935174719831</c:v>
                </c:pt>
                <c:pt idx="2364">
                  <c:v>0.93293068079703145</c:v>
                </c:pt>
                <c:pt idx="2365">
                  <c:v>0.89486941190757852</c:v>
                </c:pt>
                <c:pt idx="2366">
                  <c:v>0.90626231263930623</c:v>
                </c:pt>
                <c:pt idx="2367">
                  <c:v>0.86117595355914622</c:v>
                </c:pt>
                <c:pt idx="2368">
                  <c:v>0.85451612980209635</c:v>
                </c:pt>
                <c:pt idx="2369">
                  <c:v>0.86685910772378538</c:v>
                </c:pt>
                <c:pt idx="2370">
                  <c:v>0.85808561317634802</c:v>
                </c:pt>
                <c:pt idx="2371">
                  <c:v>0.85136374710522922</c:v>
                </c:pt>
                <c:pt idx="2372">
                  <c:v>0.8611437004974275</c:v>
                </c:pt>
                <c:pt idx="2373">
                  <c:v>0.8630302219628021</c:v>
                </c:pt>
                <c:pt idx="2374">
                  <c:v>0.87801933277004107</c:v>
                </c:pt>
                <c:pt idx="2375">
                  <c:v>0.83488598945282066</c:v>
                </c:pt>
                <c:pt idx="2376">
                  <c:v>0.84859197105165529</c:v>
                </c:pt>
                <c:pt idx="2377">
                  <c:v>0.86644158169651231</c:v>
                </c:pt>
                <c:pt idx="2378">
                  <c:v>0.86300170148087962</c:v>
                </c:pt>
                <c:pt idx="2379">
                  <c:v>0.79781574107682096</c:v>
                </c:pt>
                <c:pt idx="2380">
                  <c:v>0.81685663485385374</c:v>
                </c:pt>
                <c:pt idx="2381">
                  <c:v>0.75590499960051349</c:v>
                </c:pt>
                <c:pt idx="2382">
                  <c:v>0.77626787442576617</c:v>
                </c:pt>
                <c:pt idx="2383">
                  <c:v>0.79656062137756434</c:v>
                </c:pt>
                <c:pt idx="2384">
                  <c:v>0.82107309626595637</c:v>
                </c:pt>
                <c:pt idx="2385">
                  <c:v>0.81568759338364305</c:v>
                </c:pt>
                <c:pt idx="2386">
                  <c:v>0.77714557072355361</c:v>
                </c:pt>
                <c:pt idx="2387">
                  <c:v>0.79628395178361577</c:v>
                </c:pt>
                <c:pt idx="2388">
                  <c:v>0.76340247139587725</c:v>
                </c:pt>
                <c:pt idx="2389">
                  <c:v>0.79704520612450869</c:v>
                </c:pt>
                <c:pt idx="2390">
                  <c:v>0.76149135970744319</c:v>
                </c:pt>
                <c:pt idx="2391">
                  <c:v>0.68197099970925723</c:v>
                </c:pt>
                <c:pt idx="2392">
                  <c:v>0.72311824759163645</c:v>
                </c:pt>
                <c:pt idx="2393">
                  <c:v>0.76404936265363654</c:v>
                </c:pt>
                <c:pt idx="2394">
                  <c:v>0.82360415827253375</c:v>
                </c:pt>
                <c:pt idx="2395">
                  <c:v>0.89767291741851385</c:v>
                </c:pt>
                <c:pt idx="2396">
                  <c:v>0.82314640253116567</c:v>
                </c:pt>
                <c:pt idx="2397">
                  <c:v>0.93289424195171566</c:v>
                </c:pt>
                <c:pt idx="2398">
                  <c:v>1.1001969520650978</c:v>
                </c:pt>
                <c:pt idx="2399">
                  <c:v>0.6434671708797558</c:v>
                </c:pt>
              </c:numCache>
            </c:numRef>
          </c:val>
          <c:smooth val="0"/>
          <c:extLst>
            <c:ext xmlns:c16="http://schemas.microsoft.com/office/drawing/2014/chart" uri="{C3380CC4-5D6E-409C-BE32-E72D297353CC}">
              <c16:uniqueId val="{00000001-6066-4228-9FF0-52A0157C53BA}"/>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E$2:$E$2453</c:f>
              <c:numCache>
                <c:formatCode>#,##0.00</c:formatCode>
                <c:ptCount val="2400"/>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5.931683402961461</c:v>
                </c:pt>
                <c:pt idx="2254">
                  <c:v>46.097148788583247</c:v>
                </c:pt>
                <c:pt idx="2255">
                  <c:v>46.335904997679961</c:v>
                </c:pt>
                <c:pt idx="2256">
                  <c:v>46.091874767037083</c:v>
                </c:pt>
                <c:pt idx="2257">
                  <c:v>45.519024695125026</c:v>
                </c:pt>
                <c:pt idx="2258">
                  <c:v>44.735814549958469</c:v>
                </c:pt>
                <c:pt idx="2259">
                  <c:v>43.826932358995876</c:v>
                </c:pt>
                <c:pt idx="2260">
                  <c:v>42.740919584123972</c:v>
                </c:pt>
                <c:pt idx="2261">
                  <c:v>41.240589313157869</c:v>
                </c:pt>
                <c:pt idx="2262">
                  <c:v>39.399063528167154</c:v>
                </c:pt>
                <c:pt idx="2263">
                  <c:v>37.434525216181385</c:v>
                </c:pt>
                <c:pt idx="2264">
                  <c:v>35.026492436637049</c:v>
                </c:pt>
                <c:pt idx="2265">
                  <c:v>32.124470566772032</c:v>
                </c:pt>
                <c:pt idx="2266">
                  <c:v>28.587916424903039</c:v>
                </c:pt>
                <c:pt idx="2267">
                  <c:v>23.940635392330464</c:v>
                </c:pt>
                <c:pt idx="2268">
                  <c:v>17.721861296604597</c:v>
                </c:pt>
                <c:pt idx="2269">
                  <c:v>6.0894670699004774</c:v>
                </c:pt>
                <c:pt idx="2270">
                  <c:v>6.0257111947303663</c:v>
                </c:pt>
                <c:pt idx="2271">
                  <c:v>6.014923968333064</c:v>
                </c:pt>
                <c:pt idx="2272">
                  <c:v>5.8397173605042498</c:v>
                </c:pt>
                <c:pt idx="2273">
                  <c:v>6.0142550966695856</c:v>
                </c:pt>
                <c:pt idx="2274">
                  <c:v>6.2584196161614178</c:v>
                </c:pt>
                <c:pt idx="2275">
                  <c:v>6.2848111009570244</c:v>
                </c:pt>
                <c:pt idx="2276">
                  <c:v>6.2072445624021677</c:v>
                </c:pt>
                <c:pt idx="2277">
                  <c:v>6.1199691983298203</c:v>
                </c:pt>
                <c:pt idx="2278">
                  <c:v>6.3321838037234786</c:v>
                </c:pt>
                <c:pt idx="2279">
                  <c:v>6.3915353505969943</c:v>
                </c:pt>
                <c:pt idx="2280">
                  <c:v>6.1741954662265446</c:v>
                </c:pt>
                <c:pt idx="2281">
                  <c:v>6.3622449590958254</c:v>
                </c:pt>
                <c:pt idx="2282">
                  <c:v>6.0557752429481271</c:v>
                </c:pt>
                <c:pt idx="2283">
                  <c:v>6.1941759816745616</c:v>
                </c:pt>
                <c:pt idx="2284">
                  <c:v>6.4219451344857212</c:v>
                </c:pt>
                <c:pt idx="2285">
                  <c:v>6.4931440412353307</c:v>
                </c:pt>
                <c:pt idx="2286">
                  <c:v>6.6898447656508244</c:v>
                </c:pt>
                <c:pt idx="2287">
                  <c:v>6.8073658550909011</c:v>
                </c:pt>
                <c:pt idx="2288">
                  <c:v>6.8060993605549962</c:v>
                </c:pt>
                <c:pt idx="2289">
                  <c:v>6.8568281263294768</c:v>
                </c:pt>
                <c:pt idx="2290">
                  <c:v>6.9106780611143952</c:v>
                </c:pt>
                <c:pt idx="2291">
                  <c:v>7.0228690472749387</c:v>
                </c:pt>
                <c:pt idx="2292">
                  <c:v>7.0168925892588234</c:v>
                </c:pt>
                <c:pt idx="2293">
                  <c:v>6.9286179809855852</c:v>
                </c:pt>
                <c:pt idx="2294">
                  <c:v>6.727965312141504</c:v>
                </c:pt>
                <c:pt idx="2295">
                  <c:v>6.5051703574395612</c:v>
                </c:pt>
                <c:pt idx="2296">
                  <c:v>6.0795492875894892</c:v>
                </c:pt>
                <c:pt idx="2297">
                  <c:v>6.2130748305951311</c:v>
                </c:pt>
                <c:pt idx="2298">
                  <c:v>6.0123436247497501</c:v>
                </c:pt>
                <c:pt idx="2299">
                  <c:v>6.1424657147981918</c:v>
                </c:pt>
                <c:pt idx="2300">
                  <c:v>6.0610874939399615</c:v>
                </c:pt>
                <c:pt idx="2301">
                  <c:v>6.0973896808011405</c:v>
                </c:pt>
                <c:pt idx="2302">
                  <c:v>6.0973896808011396</c:v>
                </c:pt>
                <c:pt idx="2303">
                  <c:v>5.9174396451525366</c:v>
                </c:pt>
                <c:pt idx="2304">
                  <c:v>5.6811849176879923</c:v>
                </c:pt>
                <c:pt idx="2305">
                  <c:v>5.6811849176879923</c:v>
                </c:pt>
                <c:pt idx="2306">
                  <c:v>5.6811849176879923</c:v>
                </c:pt>
                <c:pt idx="2307">
                  <c:v>5.6442423109189601</c:v>
                </c:pt>
                <c:pt idx="2308">
                  <c:v>5.3456395378818353</c:v>
                </c:pt>
                <c:pt idx="2309">
                  <c:v>5.4830983773859057</c:v>
                </c:pt>
                <c:pt idx="2310">
                  <c:v>5.5733355331899084</c:v>
                </c:pt>
                <c:pt idx="2311">
                  <c:v>5.644242310918961</c:v>
                </c:pt>
                <c:pt idx="2312">
                  <c:v>5.817630753683745</c:v>
                </c:pt>
                <c:pt idx="2313">
                  <c:v>5.8411933908992486</c:v>
                </c:pt>
                <c:pt idx="2314">
                  <c:v>5.7571544695454273</c:v>
                </c:pt>
                <c:pt idx="2315">
                  <c:v>5.9346053137411801</c:v>
                </c:pt>
                <c:pt idx="2316">
                  <c:v>5.832922809856746</c:v>
                </c:pt>
                <c:pt idx="2317">
                  <c:v>5.9503694466582608</c:v>
                </c:pt>
                <c:pt idx="2318">
                  <c:v>5.9855189233356532</c:v>
                </c:pt>
                <c:pt idx="2319">
                  <c:v>5.9253012921115547</c:v>
                </c:pt>
                <c:pt idx="2320">
                  <c:v>5.8068528679384546</c:v>
                </c:pt>
                <c:pt idx="2321">
                  <c:v>5.8068528679384546</c:v>
                </c:pt>
                <c:pt idx="2322">
                  <c:v>6.0656371489719447</c:v>
                </c:pt>
                <c:pt idx="2323">
                  <c:v>5.869167439831787</c:v>
                </c:pt>
                <c:pt idx="2324">
                  <c:v>6.0883344267503912</c:v>
                </c:pt>
                <c:pt idx="2325">
                  <c:v>6.2363413972447423</c:v>
                </c:pt>
                <c:pt idx="2326">
                  <c:v>6.4620021095917179</c:v>
                </c:pt>
                <c:pt idx="2327">
                  <c:v>6.5586654095191497</c:v>
                </c:pt>
                <c:pt idx="2328">
                  <c:v>6.6089455225126672</c:v>
                </c:pt>
                <c:pt idx="2329">
                  <c:v>6.5144401934842229</c:v>
                </c:pt>
                <c:pt idx="2330">
                  <c:v>6.4899568742700495</c:v>
                </c:pt>
                <c:pt idx="2331">
                  <c:v>6.4758614569179445</c:v>
                </c:pt>
                <c:pt idx="2332">
                  <c:v>6.555597765952812</c:v>
                </c:pt>
                <c:pt idx="2333">
                  <c:v>6.5689097050152618</c:v>
                </c:pt>
                <c:pt idx="2334">
                  <c:v>6.6092933525975113</c:v>
                </c:pt>
                <c:pt idx="2335">
                  <c:v>6.7125718386960447</c:v>
                </c:pt>
                <c:pt idx="2336">
                  <c:v>6.9029395704035892</c:v>
                </c:pt>
                <c:pt idx="2337">
                  <c:v>7.0254872617041864</c:v>
                </c:pt>
                <c:pt idx="2338">
                  <c:v>7.1483460027276697</c:v>
                </c:pt>
                <c:pt idx="2339">
                  <c:v>6.9896475171351167</c:v>
                </c:pt>
                <c:pt idx="2340">
                  <c:v>6.8800060144320154</c:v>
                </c:pt>
                <c:pt idx="2341">
                  <c:v>6.7196743216100705</c:v>
                </c:pt>
                <c:pt idx="2342">
                  <c:v>6.6003308868640795</c:v>
                </c:pt>
                <c:pt idx="2343">
                  <c:v>6.6037258727402399</c:v>
                </c:pt>
                <c:pt idx="2344">
                  <c:v>6.7606875798045971</c:v>
                </c:pt>
                <c:pt idx="2345">
                  <c:v>6.5555977659528137</c:v>
                </c:pt>
                <c:pt idx="2346">
                  <c:v>6.6627287220018578</c:v>
                </c:pt>
                <c:pt idx="2347">
                  <c:v>6.5985020940405468</c:v>
                </c:pt>
                <c:pt idx="2348">
                  <c:v>6.5636582174426401</c:v>
                </c:pt>
                <c:pt idx="2349">
                  <c:v>6.7908830025279467</c:v>
                </c:pt>
                <c:pt idx="2350">
                  <c:v>7.0205773086781438</c:v>
                </c:pt>
                <c:pt idx="2351">
                  <c:v>6.923639332691689</c:v>
                </c:pt>
                <c:pt idx="2352">
                  <c:v>6.7042618114734767</c:v>
                </c:pt>
                <c:pt idx="2353">
                  <c:v>6.6888997084980151</c:v>
                </c:pt>
                <c:pt idx="2354">
                  <c:v>6.6142479438004873</c:v>
                </c:pt>
                <c:pt idx="2355">
                  <c:v>6.4054574432643969</c:v>
                </c:pt>
                <c:pt idx="2356">
                  <c:v>6.2913916739782056</c:v>
                </c:pt>
                <c:pt idx="2357">
                  <c:v>6.338080495529864</c:v>
                </c:pt>
                <c:pt idx="2358">
                  <c:v>6.2881022482985651</c:v>
                </c:pt>
                <c:pt idx="2359">
                  <c:v>6.2061334141333919</c:v>
                </c:pt>
                <c:pt idx="2360">
                  <c:v>6.4076104176492983</c:v>
                </c:pt>
                <c:pt idx="2361">
                  <c:v>6.4256132584467327</c:v>
                </c:pt>
                <c:pt idx="2362">
                  <c:v>6.3543812381332803</c:v>
                </c:pt>
                <c:pt idx="2363">
                  <c:v>6.4097626688719433</c:v>
                </c:pt>
                <c:pt idx="2364">
                  <c:v>6.4899568742700495</c:v>
                </c:pt>
                <c:pt idx="2365">
                  <c:v>6.4094936769921453</c:v>
                </c:pt>
                <c:pt idx="2366">
                  <c:v>6.223887981735805</c:v>
                </c:pt>
                <c:pt idx="2367">
                  <c:v>6.1158358607685077</c:v>
                </c:pt>
                <c:pt idx="2368">
                  <c:v>6.0894670699004774</c:v>
                </c:pt>
                <c:pt idx="2369">
                  <c:v>6.0894670699004774</c:v>
                </c:pt>
                <c:pt idx="2370">
                  <c:v>6.0599495464687756</c:v>
                </c:pt>
                <c:pt idx="2371">
                  <c:v>6.0409521971520244</c:v>
                </c:pt>
                <c:pt idx="2372">
                  <c:v>5.9670689060919395</c:v>
                </c:pt>
                <c:pt idx="2373">
                  <c:v>5.9960304329098397</c:v>
                </c:pt>
                <c:pt idx="2374">
                  <c:v>5.7892719331250548</c:v>
                </c:pt>
                <c:pt idx="2375">
                  <c:v>5.8918457340502526</c:v>
                </c:pt>
                <c:pt idx="2376">
                  <c:v>5.8380932960456651</c:v>
                </c:pt>
                <c:pt idx="2377">
                  <c:v>5.7854139430773337</c:v>
                </c:pt>
                <c:pt idx="2378">
                  <c:v>5.9120697873046506</c:v>
                </c:pt>
                <c:pt idx="2379">
                  <c:v>5.5267942376620605</c:v>
                </c:pt>
                <c:pt idx="2380">
                  <c:v>5.3224591523628844</c:v>
                </c:pt>
                <c:pt idx="2381">
                  <c:v>5.4192638847570045</c:v>
                </c:pt>
                <c:pt idx="2382">
                  <c:v>5.5625102667623239</c:v>
                </c:pt>
                <c:pt idx="2383">
                  <c:v>5.7189056954054749</c:v>
                </c:pt>
                <c:pt idx="2384">
                  <c:v>5.3039940555374363</c:v>
                </c:pt>
                <c:pt idx="2385">
                  <c:v>5.4757039121316025</c:v>
                </c:pt>
                <c:pt idx="2386">
                  <c:v>5.5908087838114149</c:v>
                </c:pt>
                <c:pt idx="2387">
                  <c:v>5.2503270437120459</c:v>
                </c:pt>
                <c:pt idx="2388">
                  <c:v>5.3792097408353063</c:v>
                </c:pt>
                <c:pt idx="2389">
                  <c:v>5.4411451557609274</c:v>
                </c:pt>
                <c:pt idx="2390">
                  <c:v>5.0290067698213612</c:v>
                </c:pt>
                <c:pt idx="2391">
                  <c:v>5.2025634707004453</c:v>
                </c:pt>
                <c:pt idx="2392">
                  <c:v>5.0110987927909694</c:v>
                </c:pt>
                <c:pt idx="2393">
                  <c:v>4.8088460154178359</c:v>
                </c:pt>
                <c:pt idx="2394">
                  <c:v>4.3861253103502689</c:v>
                </c:pt>
                <c:pt idx="2395">
                  <c:v>4.6761807778000488</c:v>
                </c:pt>
                <c:pt idx="2396">
                  <c:v>5.1478150704935004</c:v>
                </c:pt>
                <c:pt idx="2397">
                  <c:v>5.3541261347363367</c:v>
                </c:pt>
                <c:pt idx="2398">
                  <c:v>0.57735026918962573</c:v>
                </c:pt>
                <c:pt idx="2399">
                  <c:v>0.70710678118654757</c:v>
                </c:pt>
              </c:numCache>
            </c:numRef>
          </c:val>
          <c:smooth val="0"/>
          <c:extLst>
            <c:ext xmlns:c16="http://schemas.microsoft.com/office/drawing/2014/chart" uri="{C3380CC4-5D6E-409C-BE32-E72D297353CC}">
              <c16:uniqueId val="{00000002-6066-4228-9FF0-52A0157C53BA}"/>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F$2:$F$2453</c:f>
              <c:numCache>
                <c:formatCode>#,##0.00</c:formatCode>
                <c:ptCount val="2400"/>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101.36666118601322</c:v>
                </c:pt>
                <c:pt idx="2254">
                  <c:v>101.83974338799825</c:v>
                </c:pt>
                <c:pt idx="2255">
                  <c:v>102.22232362980144</c:v>
                </c:pt>
                <c:pt idx="2256">
                  <c:v>101.27835774303628</c:v>
                </c:pt>
                <c:pt idx="2257">
                  <c:v>100.59158919160167</c:v>
                </c:pt>
                <c:pt idx="2258">
                  <c:v>99.306815869611484</c:v>
                </c:pt>
                <c:pt idx="2259">
                  <c:v>97.139572532125854</c:v>
                </c:pt>
                <c:pt idx="2260">
                  <c:v>94.374047913291463</c:v>
                </c:pt>
                <c:pt idx="2261">
                  <c:v>91.094374455677922</c:v>
                </c:pt>
                <c:pt idx="2262">
                  <c:v>86.924336234940895</c:v>
                </c:pt>
                <c:pt idx="2263">
                  <c:v>82.071100377912444</c:v>
                </c:pt>
                <c:pt idx="2264">
                  <c:v>76.508319733907015</c:v>
                </c:pt>
                <c:pt idx="2265">
                  <c:v>69.862294765381549</c:v>
                </c:pt>
                <c:pt idx="2266">
                  <c:v>62.260151274965672</c:v>
                </c:pt>
                <c:pt idx="2267">
                  <c:v>52.315148022763722</c:v>
                </c:pt>
                <c:pt idx="2268">
                  <c:v>38.8199646467177</c:v>
                </c:pt>
                <c:pt idx="2269">
                  <c:v>12.968751125190366</c:v>
                </c:pt>
                <c:pt idx="2270">
                  <c:v>12.899968814004895</c:v>
                </c:pt>
                <c:pt idx="2271">
                  <c:v>12.452622859942158</c:v>
                </c:pt>
                <c:pt idx="2272">
                  <c:v>12.513165480597928</c:v>
                </c:pt>
                <c:pt idx="2273">
                  <c:v>12.54325848148452</c:v>
                </c:pt>
                <c:pt idx="2274">
                  <c:v>12.470885634378464</c:v>
                </c:pt>
                <c:pt idx="2275">
                  <c:v>12.314648785598543</c:v>
                </c:pt>
                <c:pt idx="2276">
                  <c:v>12.533908032800969</c:v>
                </c:pt>
                <c:pt idx="2277">
                  <c:v>12.582646323637453</c:v>
                </c:pt>
                <c:pt idx="2278">
                  <c:v>12.507469032909709</c:v>
                </c:pt>
                <c:pt idx="2279">
                  <c:v>12.235289079158479</c:v>
                </c:pt>
                <c:pt idx="2280">
                  <c:v>12.184454010756077</c:v>
                </c:pt>
                <c:pt idx="2281">
                  <c:v>12.064005548948385</c:v>
                </c:pt>
                <c:pt idx="2282">
                  <c:v>12.112689271144966</c:v>
                </c:pt>
                <c:pt idx="2283">
                  <c:v>11.837986781310526</c:v>
                </c:pt>
                <c:pt idx="2284">
                  <c:v>12.049705485979754</c:v>
                </c:pt>
                <c:pt idx="2285">
                  <c:v>11.625576243288148</c:v>
                </c:pt>
                <c:pt idx="2286">
                  <c:v>11.809795272053451</c:v>
                </c:pt>
                <c:pt idx="2287">
                  <c:v>11.7624475520103</c:v>
                </c:pt>
                <c:pt idx="2288">
                  <c:v>11.903636071559728</c:v>
                </c:pt>
                <c:pt idx="2289">
                  <c:v>12.184595513027585</c:v>
                </c:pt>
                <c:pt idx="2290">
                  <c:v>12.614031595942997</c:v>
                </c:pt>
                <c:pt idx="2291">
                  <c:v>13.111546197079917</c:v>
                </c:pt>
                <c:pt idx="2292">
                  <c:v>12.917109743976438</c:v>
                </c:pt>
                <c:pt idx="2293">
                  <c:v>12.693739972236655</c:v>
                </c:pt>
                <c:pt idx="2294">
                  <c:v>12.955449747535573</c:v>
                </c:pt>
                <c:pt idx="2295">
                  <c:v>13.280743989684472</c:v>
                </c:pt>
                <c:pt idx="2296">
                  <c:v>12.995180362106488</c:v>
                </c:pt>
                <c:pt idx="2297">
                  <c:v>13.163909212203128</c:v>
                </c:pt>
                <c:pt idx="2298">
                  <c:v>12.954385047312085</c:v>
                </c:pt>
                <c:pt idx="2299">
                  <c:v>13.048142511043698</c:v>
                </c:pt>
                <c:pt idx="2300">
                  <c:v>12.927916865557213</c:v>
                </c:pt>
                <c:pt idx="2301">
                  <c:v>12.892348260815828</c:v>
                </c:pt>
                <c:pt idx="2302">
                  <c:v>13.21284641342764</c:v>
                </c:pt>
                <c:pt idx="2303">
                  <c:v>13.433574339699389</c:v>
                </c:pt>
                <c:pt idx="2304">
                  <c:v>13.369419557719954</c:v>
                </c:pt>
                <c:pt idx="2305">
                  <c:v>13.448966973105337</c:v>
                </c:pt>
                <c:pt idx="2306">
                  <c:v>13.408009272210331</c:v>
                </c:pt>
                <c:pt idx="2307">
                  <c:v>13.575205593159602</c:v>
                </c:pt>
                <c:pt idx="2308">
                  <c:v>13.65759440961223</c:v>
                </c:pt>
                <c:pt idx="2309">
                  <c:v>13.953329434183463</c:v>
                </c:pt>
                <c:pt idx="2310">
                  <c:v>14.140550640402695</c:v>
                </c:pt>
                <c:pt idx="2311">
                  <c:v>13.857899527357846</c:v>
                </c:pt>
                <c:pt idx="2312">
                  <c:v>14.17010776328072</c:v>
                </c:pt>
                <c:pt idx="2313">
                  <c:v>13.968807615787991</c:v>
                </c:pt>
                <c:pt idx="2314">
                  <c:v>14.036242088038486</c:v>
                </c:pt>
                <c:pt idx="2315">
                  <c:v>14.165239955203925</c:v>
                </c:pt>
                <c:pt idx="2316">
                  <c:v>13.92760427781965</c:v>
                </c:pt>
                <c:pt idx="2317">
                  <c:v>13.960370841169961</c:v>
                </c:pt>
                <c:pt idx="2318">
                  <c:v>13.693021966487626</c:v>
                </c:pt>
                <c:pt idx="2319">
                  <c:v>13.697428234157135</c:v>
                </c:pt>
                <c:pt idx="2320">
                  <c:v>13.226410360883364</c:v>
                </c:pt>
                <c:pt idx="2321">
                  <c:v>13.042106874433207</c:v>
                </c:pt>
                <c:pt idx="2322">
                  <c:v>13.263899671015256</c:v>
                </c:pt>
                <c:pt idx="2323">
                  <c:v>13.270873820288664</c:v>
                </c:pt>
                <c:pt idx="2324">
                  <c:v>13.124558011167679</c:v>
                </c:pt>
                <c:pt idx="2325">
                  <c:v>12.909454790521007</c:v>
                </c:pt>
                <c:pt idx="2326">
                  <c:v>12.794754672381835</c:v>
                </c:pt>
                <c:pt idx="2327">
                  <c:v>12.644975377550191</c:v>
                </c:pt>
                <c:pt idx="2328">
                  <c:v>12.897295448467382</c:v>
                </c:pt>
                <c:pt idx="2329">
                  <c:v>12.735189730477687</c:v>
                </c:pt>
                <c:pt idx="2330">
                  <c:v>12.912659741865554</c:v>
                </c:pt>
                <c:pt idx="2331">
                  <c:v>12.743986636931901</c:v>
                </c:pt>
                <c:pt idx="2332">
                  <c:v>12.168170273960335</c:v>
                </c:pt>
                <c:pt idx="2333">
                  <c:v>12.366064055708472</c:v>
                </c:pt>
                <c:pt idx="2334">
                  <c:v>12.133548059234245</c:v>
                </c:pt>
                <c:pt idx="2335">
                  <c:v>11.882615525385729</c:v>
                </c:pt>
                <c:pt idx="2336">
                  <c:v>11.740537887382224</c:v>
                </c:pt>
                <c:pt idx="2337">
                  <c:v>11.415305313582238</c:v>
                </c:pt>
                <c:pt idx="2338">
                  <c:v>11.643408672602769</c:v>
                </c:pt>
                <c:pt idx="2339">
                  <c:v>11.372481406154654</c:v>
                </c:pt>
                <c:pt idx="2340">
                  <c:v>11.631358723172733</c:v>
                </c:pt>
                <c:pt idx="2341">
                  <c:v>11.786462134804166</c:v>
                </c:pt>
                <c:pt idx="2342">
                  <c:v>11.349261963953284</c:v>
                </c:pt>
                <c:pt idx="2343">
                  <c:v>11.452249691152641</c:v>
                </c:pt>
                <c:pt idx="2344">
                  <c:v>11.312133654447862</c:v>
                </c:pt>
                <c:pt idx="2345">
                  <c:v>11.247681753480858</c:v>
                </c:pt>
                <c:pt idx="2346">
                  <c:v>11.187071766670835</c:v>
                </c:pt>
                <c:pt idx="2347">
                  <c:v>10.960745003624652</c:v>
                </c:pt>
                <c:pt idx="2348">
                  <c:v>11.132225149609992</c:v>
                </c:pt>
                <c:pt idx="2349">
                  <c:v>11.149403365306094</c:v>
                </c:pt>
                <c:pt idx="2350">
                  <c:v>11.046609715514375</c:v>
                </c:pt>
                <c:pt idx="2351">
                  <c:v>10.863891472719823</c:v>
                </c:pt>
                <c:pt idx="2352">
                  <c:v>10.56175055152524</c:v>
                </c:pt>
                <c:pt idx="2353">
                  <c:v>10.824886185061727</c:v>
                </c:pt>
                <c:pt idx="2354">
                  <c:v>10.749445321161632</c:v>
                </c:pt>
                <c:pt idx="2355">
                  <c:v>11.182909785219936</c:v>
                </c:pt>
                <c:pt idx="2356">
                  <c:v>11.517153623452581</c:v>
                </c:pt>
                <c:pt idx="2357">
                  <c:v>11.530868117372163</c:v>
                </c:pt>
                <c:pt idx="2358">
                  <c:v>11.072436523851136</c:v>
                </c:pt>
                <c:pt idx="2359">
                  <c:v>11.183732027769867</c:v>
                </c:pt>
                <c:pt idx="2360">
                  <c:v>11.037084822511346</c:v>
                </c:pt>
                <c:pt idx="2361">
                  <c:v>11.613557277754227</c:v>
                </c:pt>
                <c:pt idx="2362">
                  <c:v>12.001388808522675</c:v>
                </c:pt>
                <c:pt idx="2363">
                  <c:v>11.726578515413646</c:v>
                </c:pt>
                <c:pt idx="2364">
                  <c:v>11.999233692007264</c:v>
                </c:pt>
                <c:pt idx="2365">
                  <c:v>12.326450393781043</c:v>
                </c:pt>
                <c:pt idx="2366">
                  <c:v>12.279737538847826</c:v>
                </c:pt>
                <c:pt idx="2367">
                  <c:v>12.683095818459696</c:v>
                </c:pt>
                <c:pt idx="2368">
                  <c:v>12.528404508964016</c:v>
                </c:pt>
                <c:pt idx="2369">
                  <c:v>12.698311952254977</c:v>
                </c:pt>
                <c:pt idx="2370">
                  <c:v>12.698311952254977</c:v>
                </c:pt>
                <c:pt idx="2371">
                  <c:v>12.647474874047198</c:v>
                </c:pt>
                <c:pt idx="2372">
                  <c:v>12.871283958444716</c:v>
                </c:pt>
                <c:pt idx="2373">
                  <c:v>13.031250594762273</c:v>
                </c:pt>
                <c:pt idx="2374">
                  <c:v>12.958293827405633</c:v>
                </c:pt>
                <c:pt idx="2375">
                  <c:v>12.983776859545204</c:v>
                </c:pt>
                <c:pt idx="2376">
                  <c:v>13.15826736314474</c:v>
                </c:pt>
                <c:pt idx="2377">
                  <c:v>13.277146105080421</c:v>
                </c:pt>
                <c:pt idx="2378">
                  <c:v>13.216052043653331</c:v>
                </c:pt>
                <c:pt idx="2379">
                  <c:v>13.099023459190215</c:v>
                </c:pt>
                <c:pt idx="2380">
                  <c:v>13.416052928878752</c:v>
                </c:pt>
                <c:pt idx="2381">
                  <c:v>13.730871862531641</c:v>
                </c:pt>
                <c:pt idx="2382">
                  <c:v>13.926708741632712</c:v>
                </c:pt>
                <c:pt idx="2383">
                  <c:v>13.706183900859605</c:v>
                </c:pt>
                <c:pt idx="2384">
                  <c:v>14.051114672132305</c:v>
                </c:pt>
                <c:pt idx="2385">
                  <c:v>13.956479976460159</c:v>
                </c:pt>
                <c:pt idx="2386">
                  <c:v>12.959644321985882</c:v>
                </c:pt>
                <c:pt idx="2387">
                  <c:v>13.025123652151873</c:v>
                </c:pt>
                <c:pt idx="2388">
                  <c:v>13.48978721012155</c:v>
                </c:pt>
                <c:pt idx="2389">
                  <c:v>14.07340065728984</c:v>
                </c:pt>
                <c:pt idx="2390">
                  <c:v>14.734005195156852</c:v>
                </c:pt>
                <c:pt idx="2391">
                  <c:v>14.841383583300672</c:v>
                </c:pt>
                <c:pt idx="2392">
                  <c:v>15.157506391224119</c:v>
                </c:pt>
                <c:pt idx="2393">
                  <c:v>14.82216005079653</c:v>
                </c:pt>
                <c:pt idx="2394">
                  <c:v>13.313079855469029</c:v>
                </c:pt>
                <c:pt idx="2395">
                  <c:v>14.099645385611653</c:v>
                </c:pt>
                <c:pt idx="2396">
                  <c:v>13.45362404707371</c:v>
                </c:pt>
                <c:pt idx="2397">
                  <c:v>14.863265679744362</c:v>
                </c:pt>
                <c:pt idx="2398">
                  <c:v>5.5075705472861021</c:v>
                </c:pt>
                <c:pt idx="2399">
                  <c:v>7.0710678118654755</c:v>
                </c:pt>
              </c:numCache>
            </c:numRef>
          </c:val>
          <c:smooth val="0"/>
          <c:extLst>
            <c:ext xmlns:c16="http://schemas.microsoft.com/office/drawing/2014/chart" uri="{C3380CC4-5D6E-409C-BE32-E72D297353CC}">
              <c16:uniqueId val="{00000003-6066-4228-9FF0-52A0157C53BA}"/>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G$2:$G$2453</c:f>
              <c:numCache>
                <c:formatCode>#,##0.00</c:formatCode>
                <c:ptCount val="2400"/>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24.967196869897709</c:v>
                </c:pt>
                <c:pt idx="2254">
                  <c:v>25.207187444270232</c:v>
                </c:pt>
                <c:pt idx="2255">
                  <c:v>25.275971052437889</c:v>
                </c:pt>
                <c:pt idx="2256">
                  <c:v>25.287223615116776</c:v>
                </c:pt>
                <c:pt idx="2257">
                  <c:v>25.034436053279634</c:v>
                </c:pt>
                <c:pt idx="2258">
                  <c:v>24.745160910888153</c:v>
                </c:pt>
                <c:pt idx="2259">
                  <c:v>24.126319867415081</c:v>
                </c:pt>
                <c:pt idx="2260">
                  <c:v>23.487340684159907</c:v>
                </c:pt>
                <c:pt idx="2261">
                  <c:v>22.678158006652847</c:v>
                </c:pt>
                <c:pt idx="2262">
                  <c:v>21.689263194747639</c:v>
                </c:pt>
                <c:pt idx="2263">
                  <c:v>20.535055533090883</c:v>
                </c:pt>
                <c:pt idx="2264">
                  <c:v>19.162613264542934</c:v>
                </c:pt>
                <c:pt idx="2265">
                  <c:v>17.534858549980264</c:v>
                </c:pt>
                <c:pt idx="2266">
                  <c:v>15.597818886722225</c:v>
                </c:pt>
                <c:pt idx="2267">
                  <c:v>13.069267275805359</c:v>
                </c:pt>
                <c:pt idx="2268">
                  <c:v>9.6444850538544955</c:v>
                </c:pt>
                <c:pt idx="2269">
                  <c:v>3.0439312149553097</c:v>
                </c:pt>
                <c:pt idx="2270">
                  <c:v>2.9952068989998155</c:v>
                </c:pt>
                <c:pt idx="2271">
                  <c:v>2.8424127682002118</c:v>
                </c:pt>
                <c:pt idx="2272">
                  <c:v>2.9205966954496243</c:v>
                </c:pt>
                <c:pt idx="2273">
                  <c:v>2.9780808446449845</c:v>
                </c:pt>
                <c:pt idx="2274">
                  <c:v>2.9780808446449845</c:v>
                </c:pt>
                <c:pt idx="2275">
                  <c:v>2.9290459786127601</c:v>
                </c:pt>
                <c:pt idx="2276">
                  <c:v>2.9487967544153624</c:v>
                </c:pt>
                <c:pt idx="2277">
                  <c:v>2.9680288749098862</c:v>
                </c:pt>
                <c:pt idx="2278">
                  <c:v>2.7852237368598982</c:v>
                </c:pt>
                <c:pt idx="2279">
                  <c:v>2.7636807041485016</c:v>
                </c:pt>
                <c:pt idx="2280">
                  <c:v>2.7240942816232359</c:v>
                </c:pt>
                <c:pt idx="2281">
                  <c:v>2.7584770077524392</c:v>
                </c:pt>
                <c:pt idx="2282">
                  <c:v>2.944701065951532</c:v>
                </c:pt>
                <c:pt idx="2283">
                  <c:v>2.8976804040711479</c:v>
                </c:pt>
                <c:pt idx="2284">
                  <c:v>2.8367457476449327</c:v>
                </c:pt>
                <c:pt idx="2285">
                  <c:v>2.8276142415206813</c:v>
                </c:pt>
                <c:pt idx="2286">
                  <c:v>2.8397830579274808</c:v>
                </c:pt>
                <c:pt idx="2287">
                  <c:v>2.9300268721061866</c:v>
                </c:pt>
                <c:pt idx="2288">
                  <c:v>2.8326909346122608</c:v>
                </c:pt>
                <c:pt idx="2289">
                  <c:v>2.8326909346122608</c:v>
                </c:pt>
                <c:pt idx="2290">
                  <c:v>2.9243331099467849</c:v>
                </c:pt>
                <c:pt idx="2291">
                  <c:v>3.0141429082351698</c:v>
                </c:pt>
                <c:pt idx="2292">
                  <c:v>3.086678831186775</c:v>
                </c:pt>
                <c:pt idx="2293">
                  <c:v>3.1249827585731271</c:v>
                </c:pt>
                <c:pt idx="2294">
                  <c:v>3.1374636509319975</c:v>
                </c:pt>
                <c:pt idx="2295">
                  <c:v>3.1369140703974456</c:v>
                </c:pt>
                <c:pt idx="2296">
                  <c:v>3.0926312124293056</c:v>
                </c:pt>
                <c:pt idx="2297">
                  <c:v>3.1579128856102807</c:v>
                </c:pt>
                <c:pt idx="2298">
                  <c:v>3.1579128856102807</c:v>
                </c:pt>
                <c:pt idx="2299">
                  <c:v>3.3002960508094583</c:v>
                </c:pt>
                <c:pt idx="2300">
                  <c:v>3.3060376672795586</c:v>
                </c:pt>
                <c:pt idx="2301">
                  <c:v>3.3543589757107144</c:v>
                </c:pt>
                <c:pt idx="2302">
                  <c:v>3.3046466762987556</c:v>
                </c:pt>
                <c:pt idx="2303">
                  <c:v>3.2334459039534131</c:v>
                </c:pt>
                <c:pt idx="2304">
                  <c:v>3.1227750700188177</c:v>
                </c:pt>
                <c:pt idx="2305">
                  <c:v>3.1347147847306935</c:v>
                </c:pt>
                <c:pt idx="2306">
                  <c:v>3.1659103755076714</c:v>
                </c:pt>
                <c:pt idx="2307">
                  <c:v>3.1200132625712813</c:v>
                </c:pt>
                <c:pt idx="2308">
                  <c:v>3.1775071556391383</c:v>
                </c:pt>
                <c:pt idx="2309">
                  <c:v>3.3107279471786693</c:v>
                </c:pt>
                <c:pt idx="2310">
                  <c:v>3.4314301163914385</c:v>
                </c:pt>
                <c:pt idx="2311">
                  <c:v>3.4489711942622217</c:v>
                </c:pt>
                <c:pt idx="2312">
                  <c:v>3.4072269373052992</c:v>
                </c:pt>
                <c:pt idx="2313">
                  <c:v>3.4799920729200249</c:v>
                </c:pt>
                <c:pt idx="2314">
                  <c:v>3.5095927654516199</c:v>
                </c:pt>
                <c:pt idx="2315">
                  <c:v>3.5010671607908082</c:v>
                </c:pt>
                <c:pt idx="2316">
                  <c:v>3.4534673563838996</c:v>
                </c:pt>
                <c:pt idx="2317">
                  <c:v>3.3589817833220921</c:v>
                </c:pt>
                <c:pt idx="2318">
                  <c:v>3.4154819925420936</c:v>
                </c:pt>
                <c:pt idx="2319">
                  <c:v>3.3500729105121168</c:v>
                </c:pt>
                <c:pt idx="2320">
                  <c:v>3.2730175187677988</c:v>
                </c:pt>
                <c:pt idx="2321">
                  <c:v>3.2021903423290978</c:v>
                </c:pt>
                <c:pt idx="2322">
                  <c:v>3.1413080224572094</c:v>
                </c:pt>
                <c:pt idx="2323">
                  <c:v>3.0567430642629319</c:v>
                </c:pt>
                <c:pt idx="2324">
                  <c:v>3.0285993120753774</c:v>
                </c:pt>
                <c:pt idx="2325">
                  <c:v>3.0454412888246849</c:v>
                </c:pt>
                <c:pt idx="2326">
                  <c:v>3.1697202458232199</c:v>
                </c:pt>
                <c:pt idx="2327">
                  <c:v>3.0904004129956482</c:v>
                </c:pt>
                <c:pt idx="2328">
                  <c:v>3.0904004129956486</c:v>
                </c:pt>
                <c:pt idx="2329">
                  <c:v>3.0227109701715444</c:v>
                </c:pt>
                <c:pt idx="2330">
                  <c:v>3.1111590034627907</c:v>
                </c:pt>
                <c:pt idx="2331">
                  <c:v>3.2091822283430154</c:v>
                </c:pt>
                <c:pt idx="2332">
                  <c:v>3.2668660506827409</c:v>
                </c:pt>
                <c:pt idx="2333">
                  <c:v>3.2668660506827409</c:v>
                </c:pt>
                <c:pt idx="2334">
                  <c:v>3.2968114166936187</c:v>
                </c:pt>
                <c:pt idx="2335">
                  <c:v>3.2652823714829387</c:v>
                </c:pt>
                <c:pt idx="2336">
                  <c:v>3.2455097185701547</c:v>
                </c:pt>
                <c:pt idx="2337">
                  <c:v>3.1941037632761269</c:v>
                </c:pt>
                <c:pt idx="2338">
                  <c:v>3.3294229937429645</c:v>
                </c:pt>
                <c:pt idx="2339">
                  <c:v>3.3294229937429645</c:v>
                </c:pt>
                <c:pt idx="2340">
                  <c:v>3.2199093297721948</c:v>
                </c:pt>
                <c:pt idx="2341">
                  <c:v>3.1522661069769158</c:v>
                </c:pt>
                <c:pt idx="2342">
                  <c:v>3.1176177170854444</c:v>
                </c:pt>
                <c:pt idx="2343">
                  <c:v>2.9674479146965291</c:v>
                </c:pt>
                <c:pt idx="2344">
                  <c:v>3.0217601630107271</c:v>
                </c:pt>
                <c:pt idx="2345">
                  <c:v>3.1176177170854444</c:v>
                </c:pt>
                <c:pt idx="2346">
                  <c:v>3.0680032069997774</c:v>
                </c:pt>
                <c:pt idx="2347">
                  <c:v>3.0904004129956486</c:v>
                </c:pt>
                <c:pt idx="2348">
                  <c:v>3.0859339762456242</c:v>
                </c:pt>
                <c:pt idx="2349">
                  <c:v>3.1332477366640425</c:v>
                </c:pt>
                <c:pt idx="2350">
                  <c:v>3.1615506162088525</c:v>
                </c:pt>
                <c:pt idx="2351">
                  <c:v>3.1856358646381677</c:v>
                </c:pt>
                <c:pt idx="2352">
                  <c:v>3.1905031491643427</c:v>
                </c:pt>
                <c:pt idx="2353">
                  <c:v>3.1905031491643427</c:v>
                </c:pt>
                <c:pt idx="2354">
                  <c:v>3.2976829204273361</c:v>
                </c:pt>
                <c:pt idx="2355">
                  <c:v>3.3930286880839842</c:v>
                </c:pt>
                <c:pt idx="2356">
                  <c:v>3.3680377315166079</c:v>
                </c:pt>
                <c:pt idx="2357">
                  <c:v>3.4139672543527864</c:v>
                </c:pt>
                <c:pt idx="2358">
                  <c:v>3.4087446706793778</c:v>
                </c:pt>
                <c:pt idx="2359">
                  <c:v>3.4087446706793778</c:v>
                </c:pt>
                <c:pt idx="2360">
                  <c:v>3.3294229937429645</c:v>
                </c:pt>
                <c:pt idx="2361">
                  <c:v>3.3495582141358669</c:v>
                </c:pt>
                <c:pt idx="2362">
                  <c:v>3.3850584470072551</c:v>
                </c:pt>
                <c:pt idx="2363">
                  <c:v>3.2842361207062636</c:v>
                </c:pt>
                <c:pt idx="2364">
                  <c:v>3.2640500897666613</c:v>
                </c:pt>
                <c:pt idx="2365">
                  <c:v>3.2414343355564275</c:v>
                </c:pt>
                <c:pt idx="2366">
                  <c:v>3.2688006166275065</c:v>
                </c:pt>
                <c:pt idx="2367">
                  <c:v>3.2270409206343009</c:v>
                </c:pt>
                <c:pt idx="2368">
                  <c:v>3.0249916880288579</c:v>
                </c:pt>
                <c:pt idx="2369">
                  <c:v>2.9651229355607671</c:v>
                </c:pt>
                <c:pt idx="2370">
                  <c:v>2.9651229355607667</c:v>
                </c:pt>
                <c:pt idx="2371">
                  <c:v>3.0842573949268433</c:v>
                </c:pt>
                <c:pt idx="2372">
                  <c:v>3.046438605542527</c:v>
                </c:pt>
                <c:pt idx="2373">
                  <c:v>3.0952686201181048</c:v>
                </c:pt>
                <c:pt idx="2374">
                  <c:v>3.0569150044987108</c:v>
                </c:pt>
                <c:pt idx="2375">
                  <c:v>3.0553861646909075</c:v>
                </c:pt>
                <c:pt idx="2376">
                  <c:v>3.1134118476894979</c:v>
                </c:pt>
                <c:pt idx="2377">
                  <c:v>3.1207579904219758</c:v>
                </c:pt>
                <c:pt idx="2378">
                  <c:v>3.1610275009338467</c:v>
                </c:pt>
                <c:pt idx="2379">
                  <c:v>3.1153856431632505</c:v>
                </c:pt>
                <c:pt idx="2380">
                  <c:v>3.0519314727375049</c:v>
                </c:pt>
                <c:pt idx="2381">
                  <c:v>2.87411313552363</c:v>
                </c:pt>
                <c:pt idx="2382">
                  <c:v>2.4920927582635191</c:v>
                </c:pt>
                <c:pt idx="2383">
                  <c:v>2.5546318307829945</c:v>
                </c:pt>
                <c:pt idx="2384">
                  <c:v>2.5796146543051504</c:v>
                </c:pt>
                <c:pt idx="2385">
                  <c:v>2.6004807247891688</c:v>
                </c:pt>
                <c:pt idx="2386">
                  <c:v>2.6672618383439062</c:v>
                </c:pt>
                <c:pt idx="2387">
                  <c:v>2.5901334345533646</c:v>
                </c:pt>
                <c:pt idx="2388">
                  <c:v>2.665063620734804</c:v>
                </c:pt>
                <c:pt idx="2389">
                  <c:v>2.7413776673693677</c:v>
                </c:pt>
                <c:pt idx="2390">
                  <c:v>2.7699688216164584</c:v>
                </c:pt>
                <c:pt idx="2391">
                  <c:v>2.6583202716502514</c:v>
                </c:pt>
                <c:pt idx="2392">
                  <c:v>2.438123139721299</c:v>
                </c:pt>
                <c:pt idx="2393">
                  <c:v>2.5071326821120348</c:v>
                </c:pt>
                <c:pt idx="2394">
                  <c:v>2.5634797778466232</c:v>
                </c:pt>
                <c:pt idx="2395">
                  <c:v>2.8047578623950176</c:v>
                </c:pt>
                <c:pt idx="2396">
                  <c:v>2.5495097567963922</c:v>
                </c:pt>
                <c:pt idx="2397">
                  <c:v>2.6457513110645907</c:v>
                </c:pt>
                <c:pt idx="2398">
                  <c:v>2.5166114784235831</c:v>
                </c:pt>
                <c:pt idx="2399">
                  <c:v>3.5355339059327378</c:v>
                </c:pt>
              </c:numCache>
            </c:numRef>
          </c:val>
          <c:smooth val="0"/>
          <c:extLst>
            <c:ext xmlns:c16="http://schemas.microsoft.com/office/drawing/2014/chart" uri="{C3380CC4-5D6E-409C-BE32-E72D297353CC}">
              <c16:uniqueId val="{00000004-6066-4228-9FF0-52A0157C53BA}"/>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I$2:$I$2453</c:f>
              <c:numCache>
                <c:formatCode>#,##0.00</c:formatCode>
                <c:ptCount val="2400"/>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39.145379968391708</c:v>
                </c:pt>
                <c:pt idx="2254">
                  <c:v>39.14246257168228</c:v>
                </c:pt>
                <c:pt idx="2255">
                  <c:v>38.988232976499567</c:v>
                </c:pt>
                <c:pt idx="2256">
                  <c:v>38.737139382149927</c:v>
                </c:pt>
                <c:pt idx="2257">
                  <c:v>38.25119479566991</c:v>
                </c:pt>
                <c:pt idx="2258">
                  <c:v>37.584304699204125</c:v>
                </c:pt>
                <c:pt idx="2259">
                  <c:v>36.766108299400315</c:v>
                </c:pt>
                <c:pt idx="2260">
                  <c:v>35.689118693552054</c:v>
                </c:pt>
                <c:pt idx="2261">
                  <c:v>34.423860144388641</c:v>
                </c:pt>
                <c:pt idx="2262">
                  <c:v>32.937789088420111</c:v>
                </c:pt>
                <c:pt idx="2263">
                  <c:v>31.183718096823657</c:v>
                </c:pt>
                <c:pt idx="2264">
                  <c:v>29.017499749737865</c:v>
                </c:pt>
                <c:pt idx="2265">
                  <c:v>26.447222806683826</c:v>
                </c:pt>
                <c:pt idx="2266">
                  <c:v>23.326793820944431</c:v>
                </c:pt>
                <c:pt idx="2267">
                  <c:v>19.418407592643312</c:v>
                </c:pt>
                <c:pt idx="2268">
                  <c:v>14.055336214728294</c:v>
                </c:pt>
                <c:pt idx="2269">
                  <c:v>2.0259683917536599</c:v>
                </c:pt>
                <c:pt idx="2270">
                  <c:v>2.0097345503467392</c:v>
                </c:pt>
                <c:pt idx="2271">
                  <c:v>2.0194761775118684</c:v>
                </c:pt>
                <c:pt idx="2272">
                  <c:v>2.0481103390351172</c:v>
                </c:pt>
                <c:pt idx="2273">
                  <c:v>2.069453224554215</c:v>
                </c:pt>
                <c:pt idx="2274">
                  <c:v>2.0649891303086703</c:v>
                </c:pt>
                <c:pt idx="2275">
                  <c:v>2.0588857530991413</c:v>
                </c:pt>
                <c:pt idx="2276">
                  <c:v>2.0134485619498066</c:v>
                </c:pt>
                <c:pt idx="2277">
                  <c:v>2.0117561766801071</c:v>
                </c:pt>
                <c:pt idx="2278">
                  <c:v>2.0789567061475585</c:v>
                </c:pt>
                <c:pt idx="2279">
                  <c:v>2.1251863948560281</c:v>
                </c:pt>
                <c:pt idx="2280">
                  <c:v>2.1593447246730668</c:v>
                </c:pt>
                <c:pt idx="2281">
                  <c:v>2.1338420833481608</c:v>
                </c:pt>
                <c:pt idx="2282">
                  <c:v>2.0628413716415293</c:v>
                </c:pt>
                <c:pt idx="2283">
                  <c:v>1.9674740933415074</c:v>
                </c:pt>
                <c:pt idx="2284">
                  <c:v>1.9461120579531812</c:v>
                </c:pt>
                <c:pt idx="2285">
                  <c:v>2.0360707544268686</c:v>
                </c:pt>
                <c:pt idx="2286">
                  <c:v>2.0611143266453253</c:v>
                </c:pt>
                <c:pt idx="2287">
                  <c:v>2.1356317472840676</c:v>
                </c:pt>
                <c:pt idx="2288">
                  <c:v>2.2111027557757743</c:v>
                </c:pt>
                <c:pt idx="2289">
                  <c:v>2.2903454216908434</c:v>
                </c:pt>
                <c:pt idx="2290">
                  <c:v>2.2516185031922142</c:v>
                </c:pt>
                <c:pt idx="2291">
                  <c:v>2.3202673430802498</c:v>
                </c:pt>
                <c:pt idx="2292">
                  <c:v>2.3389889254766514</c:v>
                </c:pt>
                <c:pt idx="2293">
                  <c:v>2.3742970741613685</c:v>
                </c:pt>
                <c:pt idx="2294">
                  <c:v>2.3246782167920022</c:v>
                </c:pt>
                <c:pt idx="2295">
                  <c:v>2.3192583399977038</c:v>
                </c:pt>
                <c:pt idx="2296">
                  <c:v>2.2283819130510873</c:v>
                </c:pt>
                <c:pt idx="2297">
                  <c:v>2.3026691406851865</c:v>
                </c:pt>
                <c:pt idx="2298">
                  <c:v>2.2911429447244114</c:v>
                </c:pt>
                <c:pt idx="2299">
                  <c:v>2.285197637331243</c:v>
                </c:pt>
                <c:pt idx="2300">
                  <c:v>2.3035226883861086</c:v>
                </c:pt>
                <c:pt idx="2301">
                  <c:v>2.3099360797855373</c:v>
                </c:pt>
                <c:pt idx="2302">
                  <c:v>2.3006606078363432</c:v>
                </c:pt>
                <c:pt idx="2303">
                  <c:v>2.2830660556825877</c:v>
                </c:pt>
                <c:pt idx="2304">
                  <c:v>2.2808774241246388</c:v>
                </c:pt>
                <c:pt idx="2305">
                  <c:v>2.2561564339113258</c:v>
                </c:pt>
                <c:pt idx="2306">
                  <c:v>2.2326642355438797</c:v>
                </c:pt>
                <c:pt idx="2307">
                  <c:v>2.3087941951392494</c:v>
                </c:pt>
                <c:pt idx="2308">
                  <c:v>2.2363085006498644</c:v>
                </c:pt>
                <c:pt idx="2309">
                  <c:v>2.1697856995452738</c:v>
                </c:pt>
                <c:pt idx="2310">
                  <c:v>2.1522231751845045</c:v>
                </c:pt>
                <c:pt idx="2311">
                  <c:v>2.1887753932388914</c:v>
                </c:pt>
                <c:pt idx="2312">
                  <c:v>2.1787529844622409</c:v>
                </c:pt>
                <c:pt idx="2313">
                  <c:v>2.1822922682421884</c:v>
                </c:pt>
                <c:pt idx="2314">
                  <c:v>2.2267511811261098</c:v>
                </c:pt>
                <c:pt idx="2315">
                  <c:v>2.1485560176447662</c:v>
                </c:pt>
                <c:pt idx="2316">
                  <c:v>2.1602166454230729</c:v>
                </c:pt>
                <c:pt idx="2317">
                  <c:v>2.0664729008225002</c:v>
                </c:pt>
                <c:pt idx="2318">
                  <c:v>2.1055991164994912</c:v>
                </c:pt>
                <c:pt idx="2319">
                  <c:v>2.1117804348276077</c:v>
                </c:pt>
                <c:pt idx="2320">
                  <c:v>2.1530408001232453</c:v>
                </c:pt>
                <c:pt idx="2321">
                  <c:v>2.1307671644348929</c:v>
                </c:pt>
                <c:pt idx="2322">
                  <c:v>2.1350349143947116</c:v>
                </c:pt>
                <c:pt idx="2323">
                  <c:v>2.0939264040777394</c:v>
                </c:pt>
                <c:pt idx="2324">
                  <c:v>2.1344136145798744</c:v>
                </c:pt>
                <c:pt idx="2325">
                  <c:v>2.1727488270770605</c:v>
                </c:pt>
                <c:pt idx="2326">
                  <c:v>2.1816872130667098</c:v>
                </c:pt>
                <c:pt idx="2327">
                  <c:v>2.17202443129481</c:v>
                </c:pt>
                <c:pt idx="2328">
                  <c:v>2.2470828222878967</c:v>
                </c:pt>
                <c:pt idx="2329">
                  <c:v>2.2775133722186052</c:v>
                </c:pt>
                <c:pt idx="2330">
                  <c:v>2.2432267196390305</c:v>
                </c:pt>
                <c:pt idx="2331">
                  <c:v>2.2321135205226574</c:v>
                </c:pt>
                <c:pt idx="2332">
                  <c:v>2.2271395264373175</c:v>
                </c:pt>
                <c:pt idx="2333">
                  <c:v>2.1969714120989243</c:v>
                </c:pt>
                <c:pt idx="2334">
                  <c:v>2.1734451842275733</c:v>
                </c:pt>
                <c:pt idx="2335">
                  <c:v>2.2338310880443846</c:v>
                </c:pt>
                <c:pt idx="2336">
                  <c:v>2.2308939065550724</c:v>
                </c:pt>
                <c:pt idx="2337">
                  <c:v>2.1167059765417533</c:v>
                </c:pt>
                <c:pt idx="2338">
                  <c:v>2.1523633514302882</c:v>
                </c:pt>
                <c:pt idx="2339">
                  <c:v>2.1373884467009772</c:v>
                </c:pt>
                <c:pt idx="2340">
                  <c:v>2.1537716690480093</c:v>
                </c:pt>
                <c:pt idx="2341">
                  <c:v>2.1282982997015694</c:v>
                </c:pt>
                <c:pt idx="2342">
                  <c:v>2.1251519763042945</c:v>
                </c:pt>
                <c:pt idx="2343">
                  <c:v>2.1204909357699311</c:v>
                </c:pt>
                <c:pt idx="2344">
                  <c:v>2.0777332351866593</c:v>
                </c:pt>
                <c:pt idx="2345">
                  <c:v>2.1877280635364169</c:v>
                </c:pt>
                <c:pt idx="2346">
                  <c:v>2.1599105632209237</c:v>
                </c:pt>
                <c:pt idx="2347">
                  <c:v>2.1408661062757921</c:v>
                </c:pt>
                <c:pt idx="2348">
                  <c:v>2.0787919305613802</c:v>
                </c:pt>
                <c:pt idx="2349">
                  <c:v>2.0976771114253623</c:v>
                </c:pt>
                <c:pt idx="2350">
                  <c:v>2.0588363843511845</c:v>
                </c:pt>
                <c:pt idx="2351">
                  <c:v>2.0781227325122207</c:v>
                </c:pt>
                <c:pt idx="2352">
                  <c:v>2.0283433827887465</c:v>
                </c:pt>
                <c:pt idx="2353">
                  <c:v>2.0053527685716004</c:v>
                </c:pt>
                <c:pt idx="2354">
                  <c:v>1.9649765154764789</c:v>
                </c:pt>
                <c:pt idx="2355">
                  <c:v>1.8938844046353571</c:v>
                </c:pt>
                <c:pt idx="2356">
                  <c:v>1.91704825192012</c:v>
                </c:pt>
                <c:pt idx="2357">
                  <c:v>1.8441943800914116</c:v>
                </c:pt>
                <c:pt idx="2358">
                  <c:v>1.7744244481414408</c:v>
                </c:pt>
                <c:pt idx="2359">
                  <c:v>1.7093358947561843</c:v>
                </c:pt>
                <c:pt idx="2360">
                  <c:v>1.7504482727304138</c:v>
                </c:pt>
                <c:pt idx="2361">
                  <c:v>1.7704218323396297</c:v>
                </c:pt>
                <c:pt idx="2362">
                  <c:v>1.6884168327634392</c:v>
                </c:pt>
                <c:pt idx="2363">
                  <c:v>1.6943988213585428</c:v>
                </c:pt>
                <c:pt idx="2364">
                  <c:v>1.6962376014491489</c:v>
                </c:pt>
                <c:pt idx="2365">
                  <c:v>1.6270352943774158</c:v>
                </c:pt>
                <c:pt idx="2366">
                  <c:v>1.6477496593441943</c:v>
                </c:pt>
                <c:pt idx="2367">
                  <c:v>1.5657744610166304</c:v>
                </c:pt>
                <c:pt idx="2368">
                  <c:v>1.5536656905492674</c:v>
                </c:pt>
                <c:pt idx="2369">
                  <c:v>1.5761074685887018</c:v>
                </c:pt>
                <c:pt idx="2370">
                  <c:v>1.5601556603206332</c:v>
                </c:pt>
                <c:pt idx="2371">
                  <c:v>1.5479340856458721</c:v>
                </c:pt>
                <c:pt idx="2372">
                  <c:v>1.5657158190862328</c:v>
                </c:pt>
                <c:pt idx="2373">
                  <c:v>1.5691458581141864</c:v>
                </c:pt>
                <c:pt idx="2374">
                  <c:v>1.5963987868546208</c:v>
                </c:pt>
                <c:pt idx="2375">
                  <c:v>1.5179745262778566</c:v>
                </c:pt>
                <c:pt idx="2376">
                  <c:v>1.5428944928211921</c:v>
                </c:pt>
                <c:pt idx="2377">
                  <c:v>1.5753483303572955</c:v>
                </c:pt>
                <c:pt idx="2378">
                  <c:v>1.5690940026925095</c:v>
                </c:pt>
                <c:pt idx="2379">
                  <c:v>1.4505740746851299</c:v>
                </c:pt>
                <c:pt idx="2380">
                  <c:v>1.4851938815524623</c:v>
                </c:pt>
                <c:pt idx="2381">
                  <c:v>1.3743727265463883</c:v>
                </c:pt>
                <c:pt idx="2382">
                  <c:v>1.4113961353195745</c:v>
                </c:pt>
                <c:pt idx="2383">
                  <c:v>1.4482920388682989</c:v>
                </c:pt>
                <c:pt idx="2384">
                  <c:v>1.4928601750290116</c:v>
                </c:pt>
                <c:pt idx="2385">
                  <c:v>1.4830683516066234</c:v>
                </c:pt>
                <c:pt idx="2386">
                  <c:v>1.4129919467700967</c:v>
                </c:pt>
                <c:pt idx="2387">
                  <c:v>1.447789003242937</c:v>
                </c:pt>
                <c:pt idx="2388">
                  <c:v>1.388004493447049</c:v>
                </c:pt>
                <c:pt idx="2389">
                  <c:v>1.4491731020445606</c:v>
                </c:pt>
                <c:pt idx="2390">
                  <c:v>1.3845297449226237</c:v>
                </c:pt>
                <c:pt idx="2391">
                  <c:v>1.239947272198648</c:v>
                </c:pt>
                <c:pt idx="2392">
                  <c:v>1.3147604501666101</c:v>
                </c:pt>
                <c:pt idx="2393">
                  <c:v>1.3891806593702467</c:v>
                </c:pt>
                <c:pt idx="2394">
                  <c:v>1.4974621059500599</c:v>
                </c:pt>
                <c:pt idx="2395">
                  <c:v>1.6321325771245687</c:v>
                </c:pt>
                <c:pt idx="2396">
                  <c:v>1.4966298227839341</c:v>
                </c:pt>
                <c:pt idx="2397">
                  <c:v>1.6961713490031158</c:v>
                </c:pt>
                <c:pt idx="2398">
                  <c:v>2.0003580946638095</c:v>
                </c:pt>
                <c:pt idx="2399">
                  <c:v>1.1699403106904707</c:v>
                </c:pt>
              </c:numCache>
            </c:numRef>
          </c:val>
          <c:smooth val="0"/>
          <c:extLst>
            <c:ext xmlns:c16="http://schemas.microsoft.com/office/drawing/2014/chart" uri="{C3380CC4-5D6E-409C-BE32-E72D297353CC}">
              <c16:uniqueId val="{00000005-6066-4228-9FF0-52A0157C53BA}"/>
            </c:ext>
          </c:extLst>
        </c:ser>
        <c:dLbls>
          <c:showLegendKey val="0"/>
          <c:showVal val="0"/>
          <c:showCatName val="0"/>
          <c:showSerName val="0"/>
          <c:showPercent val="0"/>
          <c:showBubbleSize val="0"/>
        </c:dLbls>
        <c:marker val="1"/>
        <c:smooth val="0"/>
        <c:axId val="2020855936"/>
        <c:axId val="2020843456"/>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H$2:$H$2453</c:f>
              <c:numCache>
                <c:formatCode>#,##0.00</c:formatCode>
                <c:ptCount val="2400"/>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1.7437245299630888</c:v>
                </c:pt>
                <c:pt idx="2254">
                  <c:v>1.7545669162007229</c:v>
                </c:pt>
                <c:pt idx="2255">
                  <c:v>1.7775605909113272</c:v>
                </c:pt>
                <c:pt idx="2256">
                  <c:v>1.7633967479526151</c:v>
                </c:pt>
                <c:pt idx="2257">
                  <c:v>1.7489823028509832</c:v>
                </c:pt>
                <c:pt idx="2258">
                  <c:v>1.7246657228172451</c:v>
                </c:pt>
                <c:pt idx="2259">
                  <c:v>1.6894332540018182</c:v>
                </c:pt>
                <c:pt idx="2260">
                  <c:v>1.6461147938458229</c:v>
                </c:pt>
                <c:pt idx="2261">
                  <c:v>1.5886982773724874</c:v>
                </c:pt>
                <c:pt idx="2262">
                  <c:v>1.5153334424663523</c:v>
                </c:pt>
                <c:pt idx="2263">
                  <c:v>1.4351875014447313</c:v>
                </c:pt>
                <c:pt idx="2264">
                  <c:v>1.3426010017550052</c:v>
                </c:pt>
                <c:pt idx="2265">
                  <c:v>1.2309104907294715</c:v>
                </c:pt>
                <c:pt idx="2266">
                  <c:v>1.1091619456351949</c:v>
                </c:pt>
                <c:pt idx="2267">
                  <c:v>0.9360608606056251</c:v>
                </c:pt>
                <c:pt idx="2268">
                  <c:v>0.71224113594434191</c:v>
                </c:pt>
                <c:pt idx="2269">
                  <c:v>0.3167671286371993</c:v>
                </c:pt>
                <c:pt idx="2270">
                  <c:v>0.31685548667680796</c:v>
                </c:pt>
                <c:pt idx="2271">
                  <c:v>0.30659147893713395</c:v>
                </c:pt>
                <c:pt idx="2272">
                  <c:v>0.29863770554012276</c:v>
                </c:pt>
                <c:pt idx="2273">
                  <c:v>0.30007917965723857</c:v>
                </c:pt>
                <c:pt idx="2274">
                  <c:v>0.29653518660544603</c:v>
                </c:pt>
                <c:pt idx="2275">
                  <c:v>0.29026536493382077</c:v>
                </c:pt>
                <c:pt idx="2276">
                  <c:v>0.29170660583374869</c:v>
                </c:pt>
                <c:pt idx="2277">
                  <c:v>0.28128788004275179</c:v>
                </c:pt>
                <c:pt idx="2278">
                  <c:v>0.27989599789014874</c:v>
                </c:pt>
                <c:pt idx="2279">
                  <c:v>0.27699714093391176</c:v>
                </c:pt>
                <c:pt idx="2280">
                  <c:v>0.27512465803108088</c:v>
                </c:pt>
                <c:pt idx="2281">
                  <c:v>0.29005301556680724</c:v>
                </c:pt>
                <c:pt idx="2282">
                  <c:v>0.28082353105276686</c:v>
                </c:pt>
                <c:pt idx="2283">
                  <c:v>0.28498973288893503</c:v>
                </c:pt>
                <c:pt idx="2284">
                  <c:v>0.30215305486015359</c:v>
                </c:pt>
                <c:pt idx="2285">
                  <c:v>0.28770053868799789</c:v>
                </c:pt>
                <c:pt idx="2286">
                  <c:v>0.30527853305532193</c:v>
                </c:pt>
                <c:pt idx="2287">
                  <c:v>0.30164171824491548</c:v>
                </c:pt>
                <c:pt idx="2288">
                  <c:v>0.30444676281256894</c:v>
                </c:pt>
                <c:pt idx="2289">
                  <c:v>0.31358329777929655</c:v>
                </c:pt>
                <c:pt idx="2290">
                  <c:v>0.32835895906511986</c:v>
                </c:pt>
                <c:pt idx="2291">
                  <c:v>0.3280836399308647</c:v>
                </c:pt>
                <c:pt idx="2292">
                  <c:v>0.32456532440505925</c:v>
                </c:pt>
                <c:pt idx="2293">
                  <c:v>0.32581088080790654</c:v>
                </c:pt>
                <c:pt idx="2294">
                  <c:v>0.32703895120895526</c:v>
                </c:pt>
                <c:pt idx="2295">
                  <c:v>0.32491624768944255</c:v>
                </c:pt>
                <c:pt idx="2296">
                  <c:v>0.28273201352862387</c:v>
                </c:pt>
                <c:pt idx="2297">
                  <c:v>0.30232690375297733</c:v>
                </c:pt>
                <c:pt idx="2298">
                  <c:v>0.28134741881608444</c:v>
                </c:pt>
                <c:pt idx="2299">
                  <c:v>0.3024427112612797</c:v>
                </c:pt>
                <c:pt idx="2300">
                  <c:v>0.30625579179545642</c:v>
                </c:pt>
                <c:pt idx="2301">
                  <c:v>0.30876944335216383</c:v>
                </c:pt>
                <c:pt idx="2302">
                  <c:v>0.31411411693703839</c:v>
                </c:pt>
                <c:pt idx="2303">
                  <c:v>0.31760082352486407</c:v>
                </c:pt>
                <c:pt idx="2304">
                  <c:v>0.315989622849078</c:v>
                </c:pt>
                <c:pt idx="2305">
                  <c:v>0.33084958042243501</c:v>
                </c:pt>
                <c:pt idx="2306">
                  <c:v>0.34234578375031072</c:v>
                </c:pt>
                <c:pt idx="2307">
                  <c:v>0.3477306532972218</c:v>
                </c:pt>
                <c:pt idx="2308">
                  <c:v>0.35178141514451094</c:v>
                </c:pt>
                <c:pt idx="2309">
                  <c:v>0.36648625382157357</c:v>
                </c:pt>
                <c:pt idx="2310">
                  <c:v>0.38111553869611986</c:v>
                </c:pt>
                <c:pt idx="2311">
                  <c:v>0.37603250008949868</c:v>
                </c:pt>
                <c:pt idx="2312">
                  <c:v>0.38972250289960125</c:v>
                </c:pt>
                <c:pt idx="2313">
                  <c:v>0.38555757159607568</c:v>
                </c:pt>
                <c:pt idx="2314">
                  <c:v>0.37845843728563833</c:v>
                </c:pt>
                <c:pt idx="2315">
                  <c:v>0.37129868047391568</c:v>
                </c:pt>
                <c:pt idx="2316">
                  <c:v>0.36219057403784372</c:v>
                </c:pt>
                <c:pt idx="2317">
                  <c:v>0.37745862956819576</c:v>
                </c:pt>
                <c:pt idx="2318">
                  <c:v>0.373787502218139</c:v>
                </c:pt>
                <c:pt idx="2319">
                  <c:v>0.36924075520263416</c:v>
                </c:pt>
                <c:pt idx="2320">
                  <c:v>0.34854728964830817</c:v>
                </c:pt>
                <c:pt idx="2321">
                  <c:v>0.34947742521576797</c:v>
                </c:pt>
                <c:pt idx="2322">
                  <c:v>0.34660195589671233</c:v>
                </c:pt>
                <c:pt idx="2323">
                  <c:v>0.34241070661918305</c:v>
                </c:pt>
                <c:pt idx="2324">
                  <c:v>0.35140868685045484</c:v>
                </c:pt>
                <c:pt idx="2325">
                  <c:v>0.36686615843443793</c:v>
                </c:pt>
                <c:pt idx="2326">
                  <c:v>0.36485867285014573</c:v>
                </c:pt>
                <c:pt idx="2327">
                  <c:v>0.36347909940477985</c:v>
                </c:pt>
                <c:pt idx="2328">
                  <c:v>0.37113746450722468</c:v>
                </c:pt>
                <c:pt idx="2329">
                  <c:v>0.3619560904444038</c:v>
                </c:pt>
                <c:pt idx="2330">
                  <c:v>0.36576077613246105</c:v>
                </c:pt>
                <c:pt idx="2331">
                  <c:v>0.36088383843527927</c:v>
                </c:pt>
                <c:pt idx="2332">
                  <c:v>0.35538419193728071</c:v>
                </c:pt>
                <c:pt idx="2333">
                  <c:v>0.35517762668510194</c:v>
                </c:pt>
                <c:pt idx="2334">
                  <c:v>0.3603590888073932</c:v>
                </c:pt>
                <c:pt idx="2335">
                  <c:v>0.36009028907570367</c:v>
                </c:pt>
                <c:pt idx="2336">
                  <c:v>0.36624395679194188</c:v>
                </c:pt>
                <c:pt idx="2337">
                  <c:v>0.36528227908941857</c:v>
                </c:pt>
                <c:pt idx="2338">
                  <c:v>0.37440012472075546</c:v>
                </c:pt>
                <c:pt idx="2339">
                  <c:v>0.35915406556169527</c:v>
                </c:pt>
                <c:pt idx="2340">
                  <c:v>0.35393983050995309</c:v>
                </c:pt>
                <c:pt idx="2341">
                  <c:v>0.35026848317337789</c:v>
                </c:pt>
                <c:pt idx="2342">
                  <c:v>0.33461590515161405</c:v>
                </c:pt>
                <c:pt idx="2343">
                  <c:v>0.33221740682324385</c:v>
                </c:pt>
                <c:pt idx="2344">
                  <c:v>0.33187875601537858</c:v>
                </c:pt>
                <c:pt idx="2345">
                  <c:v>0.33638949139113655</c:v>
                </c:pt>
                <c:pt idx="2346">
                  <c:v>0.33921315250470407</c:v>
                </c:pt>
                <c:pt idx="2347">
                  <c:v>0.32461732282841488</c:v>
                </c:pt>
                <c:pt idx="2348">
                  <c:v>0.32813453729041542</c:v>
                </c:pt>
                <c:pt idx="2349">
                  <c:v>0.34371410740691655</c:v>
                </c:pt>
                <c:pt idx="2350">
                  <c:v>0.34898683068946923</c:v>
                </c:pt>
                <c:pt idx="2351">
                  <c:v>0.35019244721459003</c:v>
                </c:pt>
                <c:pt idx="2352">
                  <c:v>0.35074763732711456</c:v>
                </c:pt>
                <c:pt idx="2353">
                  <c:v>0.3554661253230309</c:v>
                </c:pt>
                <c:pt idx="2354">
                  <c:v>0.34762310187416678</c:v>
                </c:pt>
                <c:pt idx="2355">
                  <c:v>0.33802553476298058</c:v>
                </c:pt>
                <c:pt idx="2356">
                  <c:v>0.35239800480610856</c:v>
                </c:pt>
                <c:pt idx="2357">
                  <c:v>0.35510119005462731</c:v>
                </c:pt>
                <c:pt idx="2358">
                  <c:v>0.34315744060422015</c:v>
                </c:pt>
                <c:pt idx="2359">
                  <c:v>0.33727447254735343</c:v>
                </c:pt>
                <c:pt idx="2360">
                  <c:v>0.34217752688971531</c:v>
                </c:pt>
                <c:pt idx="2361">
                  <c:v>0.35146448687850418</c:v>
                </c:pt>
                <c:pt idx="2362">
                  <c:v>0.35838628176279497</c:v>
                </c:pt>
                <c:pt idx="2363">
                  <c:v>0.35382247688638691</c:v>
                </c:pt>
                <c:pt idx="2364">
                  <c:v>0.3671633690605558</c:v>
                </c:pt>
                <c:pt idx="2365">
                  <c:v>0.361391941389824</c:v>
                </c:pt>
                <c:pt idx="2366">
                  <c:v>0.35165118764739589</c:v>
                </c:pt>
                <c:pt idx="2367">
                  <c:v>0.35502491185489399</c:v>
                </c:pt>
                <c:pt idx="2368">
                  <c:v>0.35279905328932798</c:v>
                </c:pt>
                <c:pt idx="2369">
                  <c:v>0.35796460629394217</c:v>
                </c:pt>
                <c:pt idx="2370">
                  <c:v>0.35517809169724374</c:v>
                </c:pt>
                <c:pt idx="2371">
                  <c:v>0.35641592364230479</c:v>
                </c:pt>
                <c:pt idx="2372">
                  <c:v>0.3581470816785704</c:v>
                </c:pt>
                <c:pt idx="2373">
                  <c:v>0.36455734896454123</c:v>
                </c:pt>
                <c:pt idx="2374">
                  <c:v>0.37026574624205078</c:v>
                </c:pt>
                <c:pt idx="2375">
                  <c:v>0.37330491307347341</c:v>
                </c:pt>
                <c:pt idx="2376">
                  <c:v>0.37193705557470652</c:v>
                </c:pt>
                <c:pt idx="2377">
                  <c:v>0.37928679184797315</c:v>
                </c:pt>
                <c:pt idx="2378">
                  <c:v>0.38304974351334486</c:v>
                </c:pt>
                <c:pt idx="2379">
                  <c:v>0.36415728991004492</c:v>
                </c:pt>
                <c:pt idx="2380">
                  <c:v>0.36764776721847514</c:v>
                </c:pt>
                <c:pt idx="2381">
                  <c:v>0.37493002347943072</c:v>
                </c:pt>
                <c:pt idx="2382">
                  <c:v>0.38417526297846816</c:v>
                </c:pt>
                <c:pt idx="2383">
                  <c:v>0.38698587970354403</c:v>
                </c:pt>
                <c:pt idx="2384">
                  <c:v>0.39178996255448051</c:v>
                </c:pt>
                <c:pt idx="2385">
                  <c:v>0.39732475868288047</c:v>
                </c:pt>
                <c:pt idx="2386">
                  <c:v>0.38357211426890025</c:v>
                </c:pt>
                <c:pt idx="2387">
                  <c:v>0.36719008983809864</c:v>
                </c:pt>
                <c:pt idx="2388">
                  <c:v>0.37774482267167819</c:v>
                </c:pt>
                <c:pt idx="2389">
                  <c:v>0.39273852437848894</c:v>
                </c:pt>
                <c:pt idx="2390">
                  <c:v>0.40234798684861989</c:v>
                </c:pt>
                <c:pt idx="2391">
                  <c:v>0.40767733828021957</c:v>
                </c:pt>
                <c:pt idx="2392">
                  <c:v>0.40268861611841072</c:v>
                </c:pt>
                <c:pt idx="2393">
                  <c:v>0.4301902146897556</c:v>
                </c:pt>
                <c:pt idx="2394">
                  <c:v>0.38077725600392393</c:v>
                </c:pt>
                <c:pt idx="2395">
                  <c:v>0.4160377652396729</c:v>
                </c:pt>
                <c:pt idx="2396">
                  <c:v>0.43143469780528171</c:v>
                </c:pt>
                <c:pt idx="2397">
                  <c:v>0.4664874378896674</c:v>
                </c:pt>
                <c:pt idx="2398">
                  <c:v>0.11425663148166298</c:v>
                </c:pt>
                <c:pt idx="2399">
                  <c:v>0.14554120915130589</c:v>
                </c:pt>
              </c:numCache>
            </c:numRef>
          </c:val>
          <c:smooth val="0"/>
          <c:extLst>
            <c:ext xmlns:c16="http://schemas.microsoft.com/office/drawing/2014/chart" uri="{C3380CC4-5D6E-409C-BE32-E72D297353CC}">
              <c16:uniqueId val="{00000006-6066-4228-9FF0-52A0157C53BA}"/>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J$2:$J$2453</c:f>
              <c:numCache>
                <c:formatCode>General</c:formatCode>
                <c:ptCount val="24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numCache>
            </c:numRef>
          </c:val>
          <c:smooth val="0"/>
          <c:extLst>
            <c:ext xmlns:c16="http://schemas.microsoft.com/office/drawing/2014/chart" uri="{C3380CC4-5D6E-409C-BE32-E72D297353CC}">
              <c16:uniqueId val="{00000007-6066-4228-9FF0-52A0157C53BA}"/>
            </c:ext>
          </c:extLst>
        </c:ser>
        <c:dLbls>
          <c:showLegendKey val="0"/>
          <c:showVal val="0"/>
          <c:showCatName val="0"/>
          <c:showSerName val="0"/>
          <c:showPercent val="0"/>
          <c:showBubbleSize val="0"/>
        </c:dLbls>
        <c:marker val="1"/>
        <c:smooth val="0"/>
        <c:axId val="425296400"/>
        <c:axId val="425295568"/>
      </c:lineChart>
      <c:catAx>
        <c:axId val="2020855936"/>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0843456"/>
        <c:crosses val="autoZero"/>
        <c:auto val="0"/>
        <c:lblAlgn val="ctr"/>
        <c:lblOffset val="100"/>
        <c:noMultiLvlLbl val="0"/>
      </c:catAx>
      <c:valAx>
        <c:axId val="202084345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0855936"/>
        <c:crosses val="autoZero"/>
        <c:crossBetween val="between"/>
      </c:valAx>
      <c:valAx>
        <c:axId val="425295568"/>
        <c:scaling>
          <c:orientation val="minMax"/>
          <c:max val="1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5296400"/>
        <c:crosses val="max"/>
        <c:crossBetween val="between"/>
      </c:valAx>
      <c:dateAx>
        <c:axId val="425296400"/>
        <c:scaling>
          <c:orientation val="minMax"/>
        </c:scaling>
        <c:delete val="1"/>
        <c:axPos val="b"/>
        <c:numFmt formatCode="m/d/yyyy\ h:mm" sourceLinked="1"/>
        <c:majorTickMark val="out"/>
        <c:minorTickMark val="none"/>
        <c:tickLblPos val="nextTo"/>
        <c:crossAx val="425295568"/>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RT Rolling Mean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B07B-433C-ABDF-67399F4269C2}"/>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B07B-433C-ABDF-67399F4269C2}"/>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B07B-433C-ABDF-67399F4269C2}"/>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B07B-433C-ABDF-67399F4269C2}"/>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B07B-433C-ABDF-67399F4269C2}"/>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B07B-433C-ABDF-67399F4269C2}"/>
            </c:ext>
          </c:extLst>
        </c:ser>
        <c:dLbls>
          <c:showLegendKey val="0"/>
          <c:showVal val="0"/>
          <c:showCatName val="0"/>
          <c:showSerName val="0"/>
          <c:showPercent val="0"/>
          <c:showBubbleSize val="0"/>
        </c:dLbls>
        <c:marker val="1"/>
        <c:smooth val="0"/>
        <c:axId val="2020855936"/>
        <c:axId val="2020843456"/>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B07B-433C-ABDF-67399F4269C2}"/>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B07B-433C-ABDF-67399F4269C2}"/>
            </c:ext>
          </c:extLst>
        </c:ser>
        <c:dLbls>
          <c:showLegendKey val="0"/>
          <c:showVal val="0"/>
          <c:showCatName val="0"/>
          <c:showSerName val="0"/>
          <c:showPercent val="0"/>
          <c:showBubbleSize val="0"/>
        </c:dLbls>
        <c:marker val="1"/>
        <c:smooth val="0"/>
        <c:axId val="425296400"/>
        <c:axId val="425295568"/>
      </c:lineChart>
      <c:catAx>
        <c:axId val="2020855936"/>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0843456"/>
        <c:crosses val="autoZero"/>
        <c:auto val="0"/>
        <c:lblAlgn val="ctr"/>
        <c:lblOffset val="100"/>
        <c:noMultiLvlLbl val="0"/>
      </c:catAx>
      <c:valAx>
        <c:axId val="202084345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0855936"/>
        <c:crosses val="autoZero"/>
        <c:crossBetween val="between"/>
      </c:valAx>
      <c:valAx>
        <c:axId val="425295568"/>
        <c:scaling>
          <c:orientation val="minMax"/>
          <c:max val="1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5296400"/>
        <c:crosses val="max"/>
        <c:crossBetween val="between"/>
      </c:valAx>
      <c:dateAx>
        <c:axId val="425296400"/>
        <c:scaling>
          <c:orientation val="minMax"/>
        </c:scaling>
        <c:delete val="1"/>
        <c:axPos val="b"/>
        <c:numFmt formatCode="m/d/yyyy\ h:mm" sourceLinked="1"/>
        <c:majorTickMark val="out"/>
        <c:minorTickMark val="none"/>
        <c:tickLblPos val="nextTo"/>
        <c:crossAx val="425295568"/>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Strength</a:t>
            </a:r>
            <a:r>
              <a:rPr lang="en-US" baseline="0"/>
              <a:t> Associated with Pump Failure (Raw Dat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5"/>
          <c:order val="0"/>
          <c:tx>
            <c:strRef>
              <c:f>'Inferential Statistics'!$G$15</c:f>
              <c:strCache>
                <c:ptCount val="1"/>
                <c:pt idx="0">
                  <c:v>Horse Power</c:v>
                </c:pt>
              </c:strCache>
            </c:strRef>
          </c:tx>
          <c:spPr>
            <a:solidFill>
              <a:schemeClr val="accent6"/>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G$23</c:f>
              <c:numCache>
                <c:formatCode>General</c:formatCode>
                <c:ptCount val="1"/>
                <c:pt idx="0">
                  <c:v>0.42183658455829925</c:v>
                </c:pt>
              </c:numCache>
            </c:numRef>
          </c:val>
          <c:extLst>
            <c:ext xmlns:c16="http://schemas.microsoft.com/office/drawing/2014/chart" uri="{C3380CC4-5D6E-409C-BE32-E72D297353CC}">
              <c16:uniqueId val="{00000000-54F0-4239-946F-01A37F4BC9A2}"/>
            </c:ext>
          </c:extLst>
        </c:ser>
        <c:ser>
          <c:idx val="2"/>
          <c:order val="1"/>
          <c:tx>
            <c:strRef>
              <c:f>'Inferential Statistics'!$D$15</c:f>
              <c:strCache>
                <c:ptCount val="1"/>
                <c:pt idx="0">
                  <c:v>Pump Speed (RPM)</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D$23</c:f>
              <c:numCache>
                <c:formatCode>General</c:formatCode>
                <c:ptCount val="1"/>
                <c:pt idx="0">
                  <c:v>0.26001285258420193</c:v>
                </c:pt>
              </c:numCache>
            </c:numRef>
          </c:val>
          <c:extLst>
            <c:ext xmlns:c16="http://schemas.microsoft.com/office/drawing/2014/chart" uri="{C3380CC4-5D6E-409C-BE32-E72D297353CC}">
              <c16:uniqueId val="{00000001-54F0-4239-946F-01A37F4BC9A2}"/>
            </c:ext>
          </c:extLst>
        </c:ser>
        <c:ser>
          <c:idx val="3"/>
          <c:order val="2"/>
          <c:tx>
            <c:strRef>
              <c:f>'Inferential Statistics'!$E$15</c:f>
              <c:strCache>
                <c:ptCount val="1"/>
                <c:pt idx="0">
                  <c:v>Pump Torque </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E$23</c:f>
              <c:numCache>
                <c:formatCode>General</c:formatCode>
                <c:ptCount val="1"/>
                <c:pt idx="0">
                  <c:v>0.23317535657717167</c:v>
                </c:pt>
              </c:numCache>
            </c:numRef>
          </c:val>
          <c:extLst>
            <c:ext xmlns:c16="http://schemas.microsoft.com/office/drawing/2014/chart" uri="{C3380CC4-5D6E-409C-BE32-E72D297353CC}">
              <c16:uniqueId val="{00000002-54F0-4239-946F-01A37F4BC9A2}"/>
            </c:ext>
          </c:extLst>
        </c:ser>
        <c:ser>
          <c:idx val="4"/>
          <c:order val="3"/>
          <c:tx>
            <c:strRef>
              <c:f>'Inferential Statistics'!$F$15</c:f>
              <c:strCache>
                <c:ptCount val="1"/>
                <c:pt idx="0">
                  <c:v>Ambient Temperature</c:v>
                </c:pt>
              </c:strCache>
            </c:strRef>
          </c:tx>
          <c:spPr>
            <a:solidFill>
              <a:schemeClr val="accent5"/>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F$23</c:f>
              <c:numCache>
                <c:formatCode>General</c:formatCode>
                <c:ptCount val="1"/>
                <c:pt idx="0">
                  <c:v>0.20801103648864624</c:v>
                </c:pt>
              </c:numCache>
            </c:numRef>
          </c:val>
          <c:extLst>
            <c:ext xmlns:c16="http://schemas.microsoft.com/office/drawing/2014/chart" uri="{C3380CC4-5D6E-409C-BE32-E72D297353CC}">
              <c16:uniqueId val="{00000003-54F0-4239-946F-01A37F4BC9A2}"/>
            </c:ext>
          </c:extLst>
        </c:ser>
        <c:ser>
          <c:idx val="6"/>
          <c:order val="4"/>
          <c:tx>
            <c:strRef>
              <c:f>'Inferential Statistics'!$H$15</c:f>
              <c:strCache>
                <c:ptCount val="1"/>
                <c:pt idx="0">
                  <c:v>Pump Efficiency</c:v>
                </c:pt>
              </c:strCache>
            </c:strRef>
          </c:tx>
          <c:spPr>
            <a:solidFill>
              <a:srgbClr val="92D050"/>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H$23</c:f>
              <c:numCache>
                <c:formatCode>General</c:formatCode>
                <c:ptCount val="1"/>
                <c:pt idx="0">
                  <c:v>-0.10268235109678094</c:v>
                </c:pt>
              </c:numCache>
            </c:numRef>
          </c:val>
          <c:extLst>
            <c:ext xmlns:c16="http://schemas.microsoft.com/office/drawing/2014/chart" uri="{C3380CC4-5D6E-409C-BE32-E72D297353CC}">
              <c16:uniqueId val="{00000004-54F0-4239-946F-01A37F4BC9A2}"/>
            </c:ext>
          </c:extLst>
        </c:ser>
        <c:ser>
          <c:idx val="0"/>
          <c:order val="5"/>
          <c:tx>
            <c:strRef>
              <c:f>'Inferential Statistics'!$B$15</c:f>
              <c:strCache>
                <c:ptCount val="1"/>
                <c:pt idx="0">
                  <c:v>Volumetric Flow Meter 1</c:v>
                </c:pt>
              </c:strCache>
            </c:strRef>
          </c:tx>
          <c:spPr>
            <a:solidFill>
              <a:srgbClr val="FF0000"/>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B$23</c:f>
              <c:numCache>
                <c:formatCode>General</c:formatCode>
                <c:ptCount val="1"/>
                <c:pt idx="0">
                  <c:v>-0.10248792792254234</c:v>
                </c:pt>
              </c:numCache>
            </c:numRef>
          </c:val>
          <c:extLst>
            <c:ext xmlns:c16="http://schemas.microsoft.com/office/drawing/2014/chart" uri="{C3380CC4-5D6E-409C-BE32-E72D297353CC}">
              <c16:uniqueId val="{00000005-54F0-4239-946F-01A37F4BC9A2}"/>
            </c:ext>
          </c:extLst>
        </c:ser>
        <c:ser>
          <c:idx val="1"/>
          <c:order val="6"/>
          <c:tx>
            <c:strRef>
              <c:f>'Inferential Statistics'!$C$15</c:f>
              <c:strCache>
                <c:ptCount val="1"/>
                <c:pt idx="0">
                  <c:v>Volumetric Flow Meter 2</c:v>
                </c:pt>
              </c:strCache>
            </c:strRef>
          </c:tx>
          <c:spPr>
            <a:solidFill>
              <a:srgbClr val="7030A0"/>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C$23</c:f>
              <c:numCache>
                <c:formatCode>General</c:formatCode>
                <c:ptCount val="1"/>
                <c:pt idx="0">
                  <c:v>-0.11211257847446812</c:v>
                </c:pt>
              </c:numCache>
            </c:numRef>
          </c:val>
          <c:extLst>
            <c:ext xmlns:c16="http://schemas.microsoft.com/office/drawing/2014/chart" uri="{C3380CC4-5D6E-409C-BE32-E72D297353CC}">
              <c16:uniqueId val="{00000006-54F0-4239-946F-01A37F4BC9A2}"/>
            </c:ext>
          </c:extLst>
        </c:ser>
        <c:dLbls>
          <c:showLegendKey val="0"/>
          <c:showVal val="0"/>
          <c:showCatName val="0"/>
          <c:showSerName val="0"/>
          <c:showPercent val="0"/>
          <c:showBubbleSize val="0"/>
        </c:dLbls>
        <c:gapWidth val="219"/>
        <c:overlap val="-27"/>
        <c:axId val="1266986863"/>
        <c:axId val="1266992687"/>
      </c:barChart>
      <c:catAx>
        <c:axId val="1266986863"/>
        <c:scaling>
          <c:orientation val="minMax"/>
        </c:scaling>
        <c:delete val="1"/>
        <c:axPos val="b"/>
        <c:numFmt formatCode="General" sourceLinked="1"/>
        <c:majorTickMark val="none"/>
        <c:minorTickMark val="none"/>
        <c:tickLblPos val="nextTo"/>
        <c:crossAx val="1266992687"/>
        <c:crosses val="autoZero"/>
        <c:auto val="1"/>
        <c:lblAlgn val="ctr"/>
        <c:lblOffset val="100"/>
        <c:noMultiLvlLbl val="0"/>
      </c:catAx>
      <c:valAx>
        <c:axId val="126699268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669868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orrelation</a:t>
            </a:r>
            <a:r>
              <a:rPr lang="en-US" baseline="0" dirty="0"/>
              <a:t> Strength Associated with Pump Failure (Rolling Standard Deviation)</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5"/>
          <c:order val="0"/>
          <c:tx>
            <c:strRef>
              <c:f>'Inferential Statistics'!$AC$15</c:f>
              <c:strCache>
                <c:ptCount val="1"/>
                <c:pt idx="0">
                  <c:v>Horse Power</c:v>
                </c:pt>
              </c:strCache>
            </c:strRef>
          </c:tx>
          <c:spPr>
            <a:solidFill>
              <a:schemeClr val="accent6"/>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AC$23</c:f>
              <c:numCache>
                <c:formatCode>General</c:formatCode>
                <c:ptCount val="1"/>
                <c:pt idx="0">
                  <c:v>0.69010189460739213</c:v>
                </c:pt>
              </c:numCache>
            </c:numRef>
          </c:val>
          <c:extLst>
            <c:ext xmlns:c16="http://schemas.microsoft.com/office/drawing/2014/chart" uri="{C3380CC4-5D6E-409C-BE32-E72D297353CC}">
              <c16:uniqueId val="{00000000-0581-4F34-928C-DE13296640A4}"/>
            </c:ext>
          </c:extLst>
        </c:ser>
        <c:ser>
          <c:idx val="0"/>
          <c:order val="1"/>
          <c:tx>
            <c:strRef>
              <c:f>'Inferential Statistics'!$X$15</c:f>
              <c:strCache>
                <c:ptCount val="1"/>
                <c:pt idx="0">
                  <c:v>Volumetric Flow Meter 1</c:v>
                </c:pt>
              </c:strCache>
            </c:strRef>
          </c:tx>
          <c:spPr>
            <a:solidFill>
              <a:srgbClr val="FF0000"/>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X$23</c:f>
              <c:numCache>
                <c:formatCode>General</c:formatCode>
                <c:ptCount val="1"/>
                <c:pt idx="0">
                  <c:v>0.64488041602710289</c:v>
                </c:pt>
              </c:numCache>
            </c:numRef>
          </c:val>
          <c:extLst>
            <c:ext xmlns:c16="http://schemas.microsoft.com/office/drawing/2014/chart" uri="{C3380CC4-5D6E-409C-BE32-E72D297353CC}">
              <c16:uniqueId val="{00000001-0581-4F34-928C-DE13296640A4}"/>
            </c:ext>
          </c:extLst>
        </c:ser>
        <c:ser>
          <c:idx val="6"/>
          <c:order val="2"/>
          <c:tx>
            <c:strRef>
              <c:f>'Inferential Statistics'!$AD$15</c:f>
              <c:strCache>
                <c:ptCount val="1"/>
                <c:pt idx="0">
                  <c:v>Pump Efficiency</c:v>
                </c:pt>
              </c:strCache>
            </c:strRef>
          </c:tx>
          <c:spPr>
            <a:solidFill>
              <a:srgbClr val="92D050"/>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AD$23</c:f>
              <c:numCache>
                <c:formatCode>General</c:formatCode>
                <c:ptCount val="1"/>
                <c:pt idx="0">
                  <c:v>0.64355468682792749</c:v>
                </c:pt>
              </c:numCache>
            </c:numRef>
          </c:val>
          <c:extLst>
            <c:ext xmlns:c16="http://schemas.microsoft.com/office/drawing/2014/chart" uri="{C3380CC4-5D6E-409C-BE32-E72D297353CC}">
              <c16:uniqueId val="{00000002-0581-4F34-928C-DE13296640A4}"/>
            </c:ext>
          </c:extLst>
        </c:ser>
        <c:ser>
          <c:idx val="1"/>
          <c:order val="3"/>
          <c:tx>
            <c:strRef>
              <c:f>'Inferential Statistics'!$Y$15</c:f>
              <c:strCache>
                <c:ptCount val="1"/>
                <c:pt idx="0">
                  <c:v>Volumetric Flow Meter 2</c:v>
                </c:pt>
              </c:strCache>
            </c:strRef>
          </c:tx>
          <c:spPr>
            <a:solidFill>
              <a:srgbClr val="7030A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581-4F34-928C-DE13296640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Y$23</c:f>
              <c:numCache>
                <c:formatCode>General</c:formatCode>
                <c:ptCount val="1"/>
                <c:pt idx="0">
                  <c:v>0.62592087058373946</c:v>
                </c:pt>
              </c:numCache>
            </c:numRef>
          </c:val>
          <c:extLst>
            <c:ext xmlns:c16="http://schemas.microsoft.com/office/drawing/2014/chart" uri="{C3380CC4-5D6E-409C-BE32-E72D297353CC}">
              <c16:uniqueId val="{00000004-0581-4F34-928C-DE13296640A4}"/>
            </c:ext>
          </c:extLst>
        </c:ser>
        <c:ser>
          <c:idx val="2"/>
          <c:order val="4"/>
          <c:tx>
            <c:strRef>
              <c:f>'Inferential Statistics'!$Z$15</c:f>
              <c:strCache>
                <c:ptCount val="1"/>
                <c:pt idx="0">
                  <c:v>Pump Speed (RPM)</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Z$23</c:f>
              <c:numCache>
                <c:formatCode>General</c:formatCode>
                <c:ptCount val="1"/>
                <c:pt idx="0">
                  <c:v>0.62455590762221425</c:v>
                </c:pt>
              </c:numCache>
            </c:numRef>
          </c:val>
          <c:extLst>
            <c:ext xmlns:c16="http://schemas.microsoft.com/office/drawing/2014/chart" uri="{C3380CC4-5D6E-409C-BE32-E72D297353CC}">
              <c16:uniqueId val="{00000005-0581-4F34-928C-DE13296640A4}"/>
            </c:ext>
          </c:extLst>
        </c:ser>
        <c:ser>
          <c:idx val="4"/>
          <c:order val="5"/>
          <c:tx>
            <c:strRef>
              <c:f>'Inferential Statistics'!$AB$15</c:f>
              <c:strCache>
                <c:ptCount val="1"/>
                <c:pt idx="0">
                  <c:v>Ambient Temperature</c:v>
                </c:pt>
              </c:strCache>
            </c:strRef>
          </c:tx>
          <c:spPr>
            <a:solidFill>
              <a:schemeClr val="accent5"/>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AB$23</c:f>
              <c:numCache>
                <c:formatCode>General</c:formatCode>
                <c:ptCount val="1"/>
                <c:pt idx="0">
                  <c:v>0.60005043132418734</c:v>
                </c:pt>
              </c:numCache>
            </c:numRef>
          </c:val>
          <c:extLst>
            <c:ext xmlns:c16="http://schemas.microsoft.com/office/drawing/2014/chart" uri="{C3380CC4-5D6E-409C-BE32-E72D297353CC}">
              <c16:uniqueId val="{00000006-0581-4F34-928C-DE13296640A4}"/>
            </c:ext>
          </c:extLst>
        </c:ser>
        <c:ser>
          <c:idx val="3"/>
          <c:order val="6"/>
          <c:tx>
            <c:strRef>
              <c:f>'Inferential Statistics'!$AA$15</c:f>
              <c:strCache>
                <c:ptCount val="1"/>
                <c:pt idx="0">
                  <c:v>Pump Torque </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AA$23</c:f>
              <c:numCache>
                <c:formatCode>General</c:formatCode>
                <c:ptCount val="1"/>
                <c:pt idx="0">
                  <c:v>0.59726041395457108</c:v>
                </c:pt>
              </c:numCache>
            </c:numRef>
          </c:val>
          <c:extLst>
            <c:ext xmlns:c16="http://schemas.microsoft.com/office/drawing/2014/chart" uri="{C3380CC4-5D6E-409C-BE32-E72D297353CC}">
              <c16:uniqueId val="{00000007-0581-4F34-928C-DE13296640A4}"/>
            </c:ext>
          </c:extLst>
        </c:ser>
        <c:dLbls>
          <c:showLegendKey val="0"/>
          <c:showVal val="0"/>
          <c:showCatName val="0"/>
          <c:showSerName val="0"/>
          <c:showPercent val="0"/>
          <c:showBubbleSize val="0"/>
        </c:dLbls>
        <c:gapWidth val="219"/>
        <c:overlap val="-27"/>
        <c:axId val="1132390543"/>
        <c:axId val="1132391791"/>
      </c:barChart>
      <c:catAx>
        <c:axId val="1132390543"/>
        <c:scaling>
          <c:orientation val="minMax"/>
        </c:scaling>
        <c:delete val="1"/>
        <c:axPos val="b"/>
        <c:numFmt formatCode="General" sourceLinked="1"/>
        <c:majorTickMark val="none"/>
        <c:minorTickMark val="none"/>
        <c:tickLblPos val="nextTo"/>
        <c:crossAx val="1132391791"/>
        <c:crosses val="autoZero"/>
        <c:auto val="1"/>
        <c:lblAlgn val="ctr"/>
        <c:lblOffset val="100"/>
        <c:noMultiLvlLbl val="0"/>
      </c:catAx>
      <c:valAx>
        <c:axId val="11323917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239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Strength Associated with Pump Failure (Rollin</a:t>
            </a:r>
            <a:r>
              <a:rPr lang="en-US" baseline="0"/>
              <a:t>g Mea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5"/>
          <c:order val="0"/>
          <c:tx>
            <c:strRef>
              <c:f>'Inferential Statistics'!$S$15</c:f>
              <c:strCache>
                <c:ptCount val="1"/>
                <c:pt idx="0">
                  <c:v>Horse Power</c:v>
                </c:pt>
              </c:strCache>
            </c:strRef>
          </c:tx>
          <c:spPr>
            <a:solidFill>
              <a:schemeClr val="accent6"/>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S$23</c:f>
              <c:numCache>
                <c:formatCode>General</c:formatCode>
                <c:ptCount val="1"/>
                <c:pt idx="0">
                  <c:v>0.2180319818536855</c:v>
                </c:pt>
              </c:numCache>
            </c:numRef>
          </c:val>
          <c:extLst>
            <c:ext xmlns:c16="http://schemas.microsoft.com/office/drawing/2014/chart" uri="{C3380CC4-5D6E-409C-BE32-E72D297353CC}">
              <c16:uniqueId val="{00000000-A840-4A05-B42F-C4E279894CCF}"/>
            </c:ext>
          </c:extLst>
        </c:ser>
        <c:ser>
          <c:idx val="2"/>
          <c:order val="1"/>
          <c:tx>
            <c:strRef>
              <c:f>'Inferential Statistics'!$P$15</c:f>
              <c:strCache>
                <c:ptCount val="1"/>
                <c:pt idx="0">
                  <c:v>Pump Speed (RPM)</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P$23</c:f>
              <c:numCache>
                <c:formatCode>General</c:formatCode>
                <c:ptCount val="1"/>
                <c:pt idx="0">
                  <c:v>-0.18417032717917944</c:v>
                </c:pt>
              </c:numCache>
            </c:numRef>
          </c:val>
          <c:extLst>
            <c:ext xmlns:c16="http://schemas.microsoft.com/office/drawing/2014/chart" uri="{C3380CC4-5D6E-409C-BE32-E72D297353CC}">
              <c16:uniqueId val="{00000001-A840-4A05-B42F-C4E279894CCF}"/>
            </c:ext>
          </c:extLst>
        </c:ser>
        <c:ser>
          <c:idx val="3"/>
          <c:order val="2"/>
          <c:tx>
            <c:strRef>
              <c:f>'Inferential Statistics'!$Q$15</c:f>
              <c:strCache>
                <c:ptCount val="1"/>
                <c:pt idx="0">
                  <c:v>Pump Torque </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Q$23</c:f>
              <c:numCache>
                <c:formatCode>General</c:formatCode>
                <c:ptCount val="1"/>
                <c:pt idx="0">
                  <c:v>-0.21602721504457051</c:v>
                </c:pt>
              </c:numCache>
            </c:numRef>
          </c:val>
          <c:extLst>
            <c:ext xmlns:c16="http://schemas.microsoft.com/office/drawing/2014/chart" uri="{C3380CC4-5D6E-409C-BE32-E72D297353CC}">
              <c16:uniqueId val="{00000002-A840-4A05-B42F-C4E279894CCF}"/>
            </c:ext>
          </c:extLst>
        </c:ser>
        <c:ser>
          <c:idx val="4"/>
          <c:order val="3"/>
          <c:tx>
            <c:strRef>
              <c:f>'Inferential Statistics'!$R$15</c:f>
              <c:strCache>
                <c:ptCount val="1"/>
                <c:pt idx="0">
                  <c:v>Ambient Temperature</c:v>
                </c:pt>
              </c:strCache>
            </c:strRef>
          </c:tx>
          <c:spPr>
            <a:solidFill>
              <a:schemeClr val="accent5"/>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R$23</c:f>
              <c:numCache>
                <c:formatCode>General</c:formatCode>
                <c:ptCount val="1"/>
                <c:pt idx="0">
                  <c:v>-0.30265189651678887</c:v>
                </c:pt>
              </c:numCache>
            </c:numRef>
          </c:val>
          <c:extLst>
            <c:ext xmlns:c16="http://schemas.microsoft.com/office/drawing/2014/chart" uri="{C3380CC4-5D6E-409C-BE32-E72D297353CC}">
              <c16:uniqueId val="{00000003-A840-4A05-B42F-C4E279894CCF}"/>
            </c:ext>
          </c:extLst>
        </c:ser>
        <c:ser>
          <c:idx val="0"/>
          <c:order val="4"/>
          <c:tx>
            <c:strRef>
              <c:f>'Inferential Statistics'!$N$15</c:f>
              <c:strCache>
                <c:ptCount val="1"/>
                <c:pt idx="0">
                  <c:v>Volumetric Flow Meter 1</c:v>
                </c:pt>
              </c:strCache>
            </c:strRef>
          </c:tx>
          <c:spPr>
            <a:solidFill>
              <a:srgbClr val="FF0000"/>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N$23</c:f>
              <c:numCache>
                <c:formatCode>General</c:formatCode>
                <c:ptCount val="1"/>
                <c:pt idx="0">
                  <c:v>-0.69244309318419739</c:v>
                </c:pt>
              </c:numCache>
            </c:numRef>
          </c:val>
          <c:extLst>
            <c:ext xmlns:c16="http://schemas.microsoft.com/office/drawing/2014/chart" uri="{C3380CC4-5D6E-409C-BE32-E72D297353CC}">
              <c16:uniqueId val="{00000004-A840-4A05-B42F-C4E279894CCF}"/>
            </c:ext>
          </c:extLst>
        </c:ser>
        <c:ser>
          <c:idx val="6"/>
          <c:order val="5"/>
          <c:tx>
            <c:strRef>
              <c:f>'Inferential Statistics'!$T$15</c:f>
              <c:strCache>
                <c:ptCount val="1"/>
                <c:pt idx="0">
                  <c:v>Pump Efficiency</c:v>
                </c:pt>
              </c:strCache>
            </c:strRef>
          </c:tx>
          <c:spPr>
            <a:solidFill>
              <a:srgbClr val="92D050"/>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T$23</c:f>
              <c:numCache>
                <c:formatCode>General</c:formatCode>
                <c:ptCount val="1"/>
                <c:pt idx="0">
                  <c:v>-0.69502775093101643</c:v>
                </c:pt>
              </c:numCache>
            </c:numRef>
          </c:val>
          <c:extLst>
            <c:ext xmlns:c16="http://schemas.microsoft.com/office/drawing/2014/chart" uri="{C3380CC4-5D6E-409C-BE32-E72D297353CC}">
              <c16:uniqueId val="{00000005-A840-4A05-B42F-C4E279894CCF}"/>
            </c:ext>
          </c:extLst>
        </c:ser>
        <c:ser>
          <c:idx val="1"/>
          <c:order val="6"/>
          <c:tx>
            <c:strRef>
              <c:f>'Inferential Statistics'!$O$15</c:f>
              <c:strCache>
                <c:ptCount val="1"/>
                <c:pt idx="0">
                  <c:v>Volumetric Flow Meter 2</c:v>
                </c:pt>
              </c:strCache>
            </c:strRef>
          </c:tx>
          <c:spPr>
            <a:solidFill>
              <a:schemeClr val="accent2"/>
            </a:solidFill>
            <a:ln>
              <a:noFill/>
            </a:ln>
            <a:effectLst/>
          </c:spPr>
          <c:invertIfNegative val="0"/>
          <c:dPt>
            <c:idx val="0"/>
            <c:invertIfNegative val="0"/>
            <c:bubble3D val="0"/>
            <c:spPr>
              <a:solidFill>
                <a:srgbClr val="7030A0"/>
              </a:solidFill>
              <a:ln>
                <a:noFill/>
              </a:ln>
              <a:effectLst/>
            </c:spPr>
            <c:extLst>
              <c:ext xmlns:c16="http://schemas.microsoft.com/office/drawing/2014/chart" uri="{C3380CC4-5D6E-409C-BE32-E72D297353CC}">
                <c16:uniqueId val="{00000008-A840-4A05-B42F-C4E279894CCF}"/>
              </c:ext>
            </c:extLst>
          </c:dPt>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Inferential Statistics'!$O$23</c:f>
              <c:numCache>
                <c:formatCode>General</c:formatCode>
                <c:ptCount val="1"/>
                <c:pt idx="0">
                  <c:v>-0.69773116823026105</c:v>
                </c:pt>
              </c:numCache>
            </c:numRef>
          </c:val>
          <c:extLst>
            <c:ext xmlns:c16="http://schemas.microsoft.com/office/drawing/2014/chart" uri="{C3380CC4-5D6E-409C-BE32-E72D297353CC}">
              <c16:uniqueId val="{00000006-A840-4A05-B42F-C4E279894CCF}"/>
            </c:ext>
          </c:extLst>
        </c:ser>
        <c:dLbls>
          <c:showLegendKey val="0"/>
          <c:showVal val="0"/>
          <c:showCatName val="0"/>
          <c:showSerName val="0"/>
          <c:showPercent val="0"/>
          <c:showBubbleSize val="0"/>
        </c:dLbls>
        <c:gapWidth val="219"/>
        <c:overlap val="-27"/>
        <c:axId val="1132397199"/>
        <c:axId val="1132386799"/>
      </c:barChart>
      <c:catAx>
        <c:axId val="1132397199"/>
        <c:scaling>
          <c:orientation val="minMax"/>
        </c:scaling>
        <c:delete val="1"/>
        <c:axPos val="b"/>
        <c:numFmt formatCode="General" sourceLinked="1"/>
        <c:majorTickMark val="none"/>
        <c:minorTickMark val="none"/>
        <c:tickLblPos val="nextTo"/>
        <c:crossAx val="1132386799"/>
        <c:crosses val="autoZero"/>
        <c:auto val="1"/>
        <c:lblAlgn val="ctr"/>
        <c:lblOffset val="100"/>
        <c:noMultiLvlLbl val="0"/>
      </c:catAx>
      <c:valAx>
        <c:axId val="113238679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23971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efficient Ranking</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Preparation'!$O$4:$O$9,'Data Preparation'!$O$11)</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extLst/>
            </c:strRef>
          </c:cat>
          <c:val>
            <c:numRef>
              <c:f>('Data Preparation'!$P$4:$P$9,'Data Preparation'!$P$11)</c:f>
              <c:numCache>
                <c:formatCode>General</c:formatCode>
                <c:ptCount val="7"/>
                <c:pt idx="0">
                  <c:v>0.76484538773206445</c:v>
                </c:pt>
                <c:pt idx="1">
                  <c:v>0.34236588972424131</c:v>
                </c:pt>
                <c:pt idx="2">
                  <c:v>5.0933943927024217E-2</c:v>
                </c:pt>
                <c:pt idx="3">
                  <c:v>1.8206887296729E-2</c:v>
                </c:pt>
                <c:pt idx="4">
                  <c:v>-1.7867336051636543E-2</c:v>
                </c:pt>
                <c:pt idx="5">
                  <c:v>-1.8901994708885334E-2</c:v>
                </c:pt>
                <c:pt idx="6">
                  <c:v>-0.61136432959094578</c:v>
                </c:pt>
              </c:numCache>
              <c:extLst/>
            </c:numRef>
          </c:val>
          <c:extLst>
            <c:ext xmlns:c16="http://schemas.microsoft.com/office/drawing/2014/chart" uri="{C3380CC4-5D6E-409C-BE32-E72D297353CC}">
              <c16:uniqueId val="{00000000-16F4-42BC-AB92-A37AF8C36347}"/>
            </c:ext>
          </c:extLst>
        </c:ser>
        <c:dLbls>
          <c:showLegendKey val="0"/>
          <c:showVal val="0"/>
          <c:showCatName val="0"/>
          <c:showSerName val="0"/>
          <c:showPercent val="0"/>
          <c:showBubbleSize val="0"/>
        </c:dLbls>
        <c:gapWidth val="219"/>
        <c:overlap val="-27"/>
        <c:axId val="6991552"/>
        <c:axId val="6993632"/>
      </c:barChart>
      <c:catAx>
        <c:axId val="69915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93632"/>
        <c:crosses val="autoZero"/>
        <c:auto val="1"/>
        <c:lblAlgn val="ctr"/>
        <c:lblOffset val="100"/>
        <c:noMultiLvlLbl val="0"/>
      </c:catAx>
      <c:valAx>
        <c:axId val="69936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gression Correlation Coefficie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915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1/08/20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38344FA1-C64B-4B84-9334-ADC49D2C3C72}"/>
              </a:ext>
            </a:extLst>
          </p:cNvPr>
          <p:cNvGraphicFramePr>
            <a:graphicFrameLocks/>
          </p:cNvGraphicFramePr>
          <p:nvPr>
            <p:extLst>
              <p:ext uri="{D42A27DB-BD31-4B8C-83A1-F6EECF244321}">
                <p14:modId xmlns:p14="http://schemas.microsoft.com/office/powerpoint/2010/main" val="1885439518"/>
              </p:ext>
            </p:extLst>
          </p:nvPr>
        </p:nvGraphicFramePr>
        <p:xfrm>
          <a:off x="472701" y="3599946"/>
          <a:ext cx="8064587" cy="312152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A8E69CEB-C059-4F12-82C3-72BDB2B300D6}"/>
              </a:ext>
            </a:extLst>
          </p:cNvPr>
          <p:cNvGraphicFramePr>
            <a:graphicFrameLocks/>
          </p:cNvGraphicFramePr>
          <p:nvPr>
            <p:extLst>
              <p:ext uri="{D42A27DB-BD31-4B8C-83A1-F6EECF244321}">
                <p14:modId xmlns:p14="http://schemas.microsoft.com/office/powerpoint/2010/main" val="4068723150"/>
              </p:ext>
            </p:extLst>
          </p:nvPr>
        </p:nvGraphicFramePr>
        <p:xfrm>
          <a:off x="618401" y="894698"/>
          <a:ext cx="7724636" cy="28474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6E5D6D9D-8E21-4638-ADA6-352D3579BD73}"/>
              </a:ext>
            </a:extLst>
          </p:cNvPr>
          <p:cNvGraphicFramePr>
            <a:graphicFrameLocks/>
          </p:cNvGraphicFramePr>
          <p:nvPr>
            <p:extLst>
              <p:ext uri="{D42A27DB-BD31-4B8C-83A1-F6EECF244321}">
                <p14:modId xmlns:p14="http://schemas.microsoft.com/office/powerpoint/2010/main" val="18729795"/>
              </p:ext>
            </p:extLst>
          </p:nvPr>
        </p:nvGraphicFramePr>
        <p:xfrm>
          <a:off x="75838" y="1026010"/>
          <a:ext cx="8809762" cy="28956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C435A161-8FCE-44B3-9753-0C099A871F33}"/>
              </a:ext>
            </a:extLst>
          </p:cNvPr>
          <p:cNvGraphicFramePr>
            <a:graphicFrameLocks/>
          </p:cNvGraphicFramePr>
          <p:nvPr>
            <p:extLst>
              <p:ext uri="{D42A27DB-BD31-4B8C-83A1-F6EECF244321}">
                <p14:modId xmlns:p14="http://schemas.microsoft.com/office/powerpoint/2010/main" val="1467052014"/>
              </p:ext>
            </p:extLst>
          </p:nvPr>
        </p:nvGraphicFramePr>
        <p:xfrm>
          <a:off x="41261" y="3813741"/>
          <a:ext cx="8844339" cy="27998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amp; whisker plots show a clear signature difference between that of normal behaviour and that of Failure with pump torque, pump speed (RPM), an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BCF4C33E-F5D2-4BDF-91B9-694740C242C4}"/>
              </a:ext>
            </a:extLst>
          </p:cNvPr>
          <p:cNvPicPr>
            <a:picLocks noChangeAspect="1"/>
          </p:cNvPicPr>
          <p:nvPr/>
        </p:nvPicPr>
        <p:blipFill>
          <a:blip r:embed="rId2"/>
          <a:stretch>
            <a:fillRect/>
          </a:stretch>
        </p:blipFill>
        <p:spPr>
          <a:xfrm>
            <a:off x="123951" y="1386231"/>
            <a:ext cx="4355808" cy="2413873"/>
          </a:xfrm>
          <a:prstGeom prst="rect">
            <a:avLst/>
          </a:prstGeom>
        </p:spPr>
      </p:pic>
      <p:pic>
        <p:nvPicPr>
          <p:cNvPr id="8" name="Picture 7">
            <a:extLst>
              <a:ext uri="{FF2B5EF4-FFF2-40B4-BE49-F238E27FC236}">
                <a16:creationId xmlns:a16="http://schemas.microsoft.com/office/drawing/2014/main" id="{98EA3A57-8CAB-4500-BDEE-E6302CA1FBF5}"/>
              </a:ext>
            </a:extLst>
          </p:cNvPr>
          <p:cNvPicPr>
            <a:picLocks noChangeAspect="1"/>
          </p:cNvPicPr>
          <p:nvPr/>
        </p:nvPicPr>
        <p:blipFill>
          <a:blip r:embed="rId3"/>
          <a:stretch>
            <a:fillRect/>
          </a:stretch>
        </p:blipFill>
        <p:spPr>
          <a:xfrm>
            <a:off x="123951" y="4245416"/>
            <a:ext cx="4336062" cy="2202299"/>
          </a:xfrm>
          <a:prstGeom prst="rect">
            <a:avLst/>
          </a:prstGeom>
        </p:spPr>
      </p:pic>
      <p:pic>
        <p:nvPicPr>
          <p:cNvPr id="9" name="Picture 8">
            <a:extLst>
              <a:ext uri="{FF2B5EF4-FFF2-40B4-BE49-F238E27FC236}">
                <a16:creationId xmlns:a16="http://schemas.microsoft.com/office/drawing/2014/main" id="{C602438B-79EE-42ED-8E7A-33C969E99EAD}"/>
              </a:ext>
            </a:extLst>
          </p:cNvPr>
          <p:cNvPicPr>
            <a:picLocks noChangeAspect="1"/>
          </p:cNvPicPr>
          <p:nvPr/>
        </p:nvPicPr>
        <p:blipFill>
          <a:blip r:embed="rId4"/>
          <a:stretch>
            <a:fillRect/>
          </a:stretch>
        </p:blipFill>
        <p:spPr>
          <a:xfrm>
            <a:off x="4605630" y="1386231"/>
            <a:ext cx="4329333" cy="2413873"/>
          </a:xfrm>
          <a:prstGeom prst="rect">
            <a:avLst/>
          </a:prstGeom>
        </p:spPr>
      </p:pic>
      <p:pic>
        <p:nvPicPr>
          <p:cNvPr id="10" name="Picture 9">
            <a:extLst>
              <a:ext uri="{FF2B5EF4-FFF2-40B4-BE49-F238E27FC236}">
                <a16:creationId xmlns:a16="http://schemas.microsoft.com/office/drawing/2014/main" id="{EE43EABC-5DC4-4364-A703-9E91EB5A1618}"/>
              </a:ext>
            </a:extLst>
          </p:cNvPr>
          <p:cNvPicPr>
            <a:picLocks noChangeAspect="1"/>
          </p:cNvPicPr>
          <p:nvPr/>
        </p:nvPicPr>
        <p:blipFill>
          <a:blip r:embed="rId5"/>
          <a:stretch>
            <a:fillRect/>
          </a:stretch>
        </p:blipFill>
        <p:spPr>
          <a:xfrm>
            <a:off x="4605630" y="4194284"/>
            <a:ext cx="4329333" cy="2220358"/>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interesting insights with Pump Speed (RPM), Volumetric Flow Meter 1, and Pump Efficiency negatively correlated with Pump Failure in the Rolling Mean Data, whilst Horse Power, Volumetric Flow Meter 1, and Pump Efficiency show a subsequently strong positive correlation in the Rolling Standard Deviation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0" y="1084435"/>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21F9C0E0-548F-4E1E-BE00-6BDAA6AEE5FE}"/>
              </a:ext>
            </a:extLst>
          </p:cNvPr>
          <p:cNvGraphicFramePr>
            <a:graphicFrameLocks/>
          </p:cNvGraphicFramePr>
          <p:nvPr>
            <p:extLst>
              <p:ext uri="{D42A27DB-BD31-4B8C-83A1-F6EECF244321}">
                <p14:modId xmlns:p14="http://schemas.microsoft.com/office/powerpoint/2010/main" val="2876892939"/>
              </p:ext>
            </p:extLst>
          </p:nvPr>
        </p:nvGraphicFramePr>
        <p:xfrm>
          <a:off x="42508" y="1331397"/>
          <a:ext cx="5182635" cy="28962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a:extLst>
              <a:ext uri="{FF2B5EF4-FFF2-40B4-BE49-F238E27FC236}">
                <a16:creationId xmlns:a16="http://schemas.microsoft.com/office/drawing/2014/main" id="{73BE65C6-6524-454D-9E11-C158B8A78D6D}"/>
              </a:ext>
            </a:extLst>
          </p:cNvPr>
          <p:cNvGraphicFramePr>
            <a:graphicFrameLocks/>
          </p:cNvGraphicFramePr>
          <p:nvPr>
            <p:extLst>
              <p:ext uri="{D42A27DB-BD31-4B8C-83A1-F6EECF244321}">
                <p14:modId xmlns:p14="http://schemas.microsoft.com/office/powerpoint/2010/main" val="2036458506"/>
              </p:ext>
            </p:extLst>
          </p:nvPr>
        </p:nvGraphicFramePr>
        <p:xfrm>
          <a:off x="5021607" y="2095999"/>
          <a:ext cx="3939831" cy="31931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63435BD3-6F01-4941-8984-1933043E7B8E}"/>
              </a:ext>
            </a:extLst>
          </p:cNvPr>
          <p:cNvGraphicFramePr>
            <a:graphicFrameLocks/>
          </p:cNvGraphicFramePr>
          <p:nvPr>
            <p:extLst>
              <p:ext uri="{D42A27DB-BD31-4B8C-83A1-F6EECF244321}">
                <p14:modId xmlns:p14="http://schemas.microsoft.com/office/powerpoint/2010/main" val="2847723454"/>
              </p:ext>
            </p:extLst>
          </p:nvPr>
        </p:nvGraphicFramePr>
        <p:xfrm>
          <a:off x="68260" y="4186907"/>
          <a:ext cx="5131130" cy="253456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0.78, a linear model is a good fit for the data with variables Horse Power, Volumetric Flow Meter 2, and Pump Efficiency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109657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59662698-6FBC-4215-9F22-07DB82639B51}"/>
              </a:ext>
            </a:extLst>
          </p:cNvPr>
          <p:cNvGraphicFramePr>
            <a:graphicFrameLocks/>
          </p:cNvGraphicFramePr>
          <p:nvPr>
            <p:extLst>
              <p:ext uri="{D42A27DB-BD31-4B8C-83A1-F6EECF244321}">
                <p14:modId xmlns:p14="http://schemas.microsoft.com/office/powerpoint/2010/main" val="1115444666"/>
              </p:ext>
            </p:extLst>
          </p:nvPr>
        </p:nvGraphicFramePr>
        <p:xfrm>
          <a:off x="-65313" y="1477303"/>
          <a:ext cx="9096498" cy="40269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746</TotalTime>
  <Words>335</Words>
  <Application>Microsoft Office PowerPoint</Application>
  <PresentationFormat>Custom</PresentationFormat>
  <Paragraphs>25</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amp; whisker plots show a clear signature difference between that of normal behaviour and that of Failure with pump torque, pump speed (RPM), and Pump Efficiency showing the 3 largest variances.</vt:lpstr>
      <vt:lpstr>Correlation analyses across datasets yield interesting insights with Pump Speed (RPM), Volumetric Flow Meter 1, and Pump Efficiency negatively correlated with Pump Failure in the Rolling Mean Data, whilst Horse Power, Volumetric Flow Meter 1, and Pump Efficiency show a subsequently strong positive correlation in the Rolling Standard Deviation Dataset. </vt:lpstr>
      <vt:lpstr>Lastly, analysis of the model fit reveals that with a R Squared of 0.78, a linear model is a good fit for the data with variables Horse Power, Volumetric Flow Meter 2, and Pump Efficiency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Dan Pavlu</cp:lastModifiedBy>
  <cp:revision>84</cp:revision>
  <dcterms:created xsi:type="dcterms:W3CDTF">2020-04-12T13:23:13Z</dcterms:created>
  <dcterms:modified xsi:type="dcterms:W3CDTF">2021-08-11T23:47:20Z</dcterms:modified>
</cp:coreProperties>
</file>